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  <p:sldMasterId id="2147483700" r:id="rId5"/>
  </p:sldMasterIdLst>
  <p:notesMasterIdLst>
    <p:notesMasterId r:id="rId53"/>
  </p:notesMasterIdLst>
  <p:sldIdLst>
    <p:sldId id="630" r:id="rId6"/>
    <p:sldId id="660" r:id="rId7"/>
    <p:sldId id="627" r:id="rId8"/>
    <p:sldId id="605" r:id="rId9"/>
    <p:sldId id="631" r:id="rId10"/>
    <p:sldId id="647" r:id="rId11"/>
    <p:sldId id="648" r:id="rId12"/>
    <p:sldId id="649" r:id="rId13"/>
    <p:sldId id="650" r:id="rId14"/>
    <p:sldId id="634" r:id="rId15"/>
    <p:sldId id="661" r:id="rId16"/>
    <p:sldId id="636" r:id="rId17"/>
    <p:sldId id="651" r:id="rId18"/>
    <p:sldId id="640" r:id="rId19"/>
    <p:sldId id="643" r:id="rId20"/>
    <p:sldId id="644" r:id="rId21"/>
    <p:sldId id="646" r:id="rId22"/>
    <p:sldId id="645" r:id="rId23"/>
    <p:sldId id="530" r:id="rId24"/>
    <p:sldId id="582" r:id="rId25"/>
    <p:sldId id="584" r:id="rId26"/>
    <p:sldId id="585" r:id="rId27"/>
    <p:sldId id="583" r:id="rId28"/>
    <p:sldId id="586" r:id="rId29"/>
    <p:sldId id="652" r:id="rId30"/>
    <p:sldId id="591" r:id="rId31"/>
    <p:sldId id="601" r:id="rId32"/>
    <p:sldId id="653" r:id="rId33"/>
    <p:sldId id="541" r:id="rId34"/>
    <p:sldId id="552" r:id="rId35"/>
    <p:sldId id="558" r:id="rId36"/>
    <p:sldId id="553" r:id="rId37"/>
    <p:sldId id="560" r:id="rId38"/>
    <p:sldId id="556" r:id="rId39"/>
    <p:sldId id="654" r:id="rId40"/>
    <p:sldId id="655" r:id="rId41"/>
    <p:sldId id="656" r:id="rId42"/>
    <p:sldId id="568" r:id="rId43"/>
    <p:sldId id="657" r:id="rId44"/>
    <p:sldId id="570" r:id="rId45"/>
    <p:sldId id="564" r:id="rId46"/>
    <p:sldId id="571" r:id="rId47"/>
    <p:sldId id="572" r:id="rId48"/>
    <p:sldId id="573" r:id="rId49"/>
    <p:sldId id="574" r:id="rId50"/>
    <p:sldId id="658" r:id="rId51"/>
    <p:sldId id="625" r:id="rId52"/>
  </p:sldIdLst>
  <p:sldSz cx="9144000" cy="5143500" type="screen16x9"/>
  <p:notesSz cx="6858000" cy="9144000"/>
  <p:custDataLst>
    <p:tags r:id="rId5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49B568AF-5F4E-4683-BB1F-D5167199C192}">
          <p14:sldIdLst>
            <p14:sldId id="630"/>
            <p14:sldId id="660"/>
            <p14:sldId id="627"/>
            <p14:sldId id="605"/>
            <p14:sldId id="631"/>
            <p14:sldId id="647"/>
            <p14:sldId id="648"/>
            <p14:sldId id="649"/>
            <p14:sldId id="650"/>
            <p14:sldId id="634"/>
            <p14:sldId id="661"/>
            <p14:sldId id="636"/>
            <p14:sldId id="651"/>
            <p14:sldId id="640"/>
            <p14:sldId id="643"/>
            <p14:sldId id="644"/>
            <p14:sldId id="646"/>
            <p14:sldId id="645"/>
            <p14:sldId id="530"/>
            <p14:sldId id="582"/>
            <p14:sldId id="584"/>
            <p14:sldId id="585"/>
            <p14:sldId id="583"/>
            <p14:sldId id="586"/>
            <p14:sldId id="652"/>
            <p14:sldId id="591"/>
            <p14:sldId id="601"/>
            <p14:sldId id="653"/>
            <p14:sldId id="541"/>
            <p14:sldId id="552"/>
            <p14:sldId id="558"/>
            <p14:sldId id="553"/>
            <p14:sldId id="560"/>
            <p14:sldId id="556"/>
            <p14:sldId id="654"/>
            <p14:sldId id="655"/>
            <p14:sldId id="656"/>
            <p14:sldId id="568"/>
            <p14:sldId id="657"/>
            <p14:sldId id="570"/>
            <p14:sldId id="564"/>
            <p14:sldId id="571"/>
            <p14:sldId id="572"/>
            <p14:sldId id="573"/>
            <p14:sldId id="574"/>
            <p14:sldId id="658"/>
            <p14:sldId id="625"/>
          </p14:sldIdLst>
        </p14:section>
        <p14:section name="Templates" id="{9D1A92EC-9683-4766-8E2E-478FF76727A7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904">
          <p15:clr>
            <a:srgbClr val="A4A3A4"/>
          </p15:clr>
        </p15:guide>
        <p15:guide id="2" orient="horz" pos="2346">
          <p15:clr>
            <a:srgbClr val="A4A3A4"/>
          </p15:clr>
        </p15:guide>
        <p15:guide id="3" orient="horz" pos="2845">
          <p15:clr>
            <a:srgbClr val="A4A3A4"/>
          </p15:clr>
        </p15:guide>
        <p15:guide id="4" orient="horz" pos="123">
          <p15:clr>
            <a:srgbClr val="A4A3A4"/>
          </p15:clr>
        </p15:guide>
        <p15:guide id="5" orient="horz" pos="1408">
          <p15:clr>
            <a:srgbClr val="A4A3A4"/>
          </p15:clr>
        </p15:guide>
        <p15:guide id="6" orient="horz" pos="972">
          <p15:clr>
            <a:srgbClr val="A4A3A4"/>
          </p15:clr>
        </p15:guide>
        <p15:guide id="7" pos="5511">
          <p15:clr>
            <a:srgbClr val="A4A3A4"/>
          </p15:clr>
        </p15:guide>
        <p15:guide id="8" pos="1313">
          <p15:clr>
            <a:srgbClr val="A4A3A4"/>
          </p15:clr>
        </p15:guide>
        <p15:guide id="9" pos="2372">
          <p15:clr>
            <a:srgbClr val="A4A3A4"/>
          </p15:clr>
        </p15:guide>
        <p15:guide id="10" pos="3424">
          <p15:clr>
            <a:srgbClr val="A4A3A4"/>
          </p15:clr>
        </p15:guide>
        <p15:guide id="11" pos="446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5DB1"/>
    <a:srgbClr val="FF8AD8"/>
    <a:srgbClr val="FF85FF"/>
    <a:srgbClr val="D883FF"/>
    <a:srgbClr val="7A81FF"/>
    <a:srgbClr val="76D6FF"/>
    <a:srgbClr val="73FDD6"/>
    <a:srgbClr val="73FB79"/>
    <a:srgbClr val="D5FC79"/>
    <a:srgbClr val="FFFD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–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–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–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–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–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–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–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edium Style 4 –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–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2838BEF-8BB2-4498-84A7-C5851F593DF1}" styleName="Medium Style 4 –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–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37CE84F3-28C3-443E-9E96-99CF82512B78}" styleName="Dark Style 1 –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–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–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612" autoAdjust="0"/>
    <p:restoredTop sz="94832"/>
  </p:normalViewPr>
  <p:slideViewPr>
    <p:cSldViewPr showGuides="1">
      <p:cViewPr varScale="1">
        <p:scale>
          <a:sx n="115" d="100"/>
          <a:sy n="115" d="100"/>
        </p:scale>
        <p:origin x="208" y="1096"/>
      </p:cViewPr>
      <p:guideLst>
        <p:guide orient="horz" pos="1904"/>
        <p:guide orient="horz" pos="2346"/>
        <p:guide orient="horz" pos="2845"/>
        <p:guide orient="horz" pos="123"/>
        <p:guide orient="horz" pos="1408"/>
        <p:guide orient="horz" pos="972"/>
        <p:guide pos="5511"/>
        <p:guide pos="1313"/>
        <p:guide pos="2372"/>
        <p:guide pos="3424"/>
        <p:guide pos="44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presProps" Target="pres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notesMaster" Target="notesMasters/notesMaster1.xml"/><Relationship Id="rId58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theme" Target="theme/theme1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dirty="0">
              <a:effectLst/>
            </a:rPr>
            <a:t>(Performance, Security, Code quality, Mutation, Memory leakage, Contracts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  <a:p>
          <a:r>
            <a:rPr lang="en-GB" sz="1400" i="1" dirty="0">
              <a:effectLst/>
            </a:rPr>
            <a:t>(and maybe Contracts)</a:t>
          </a:r>
          <a:endParaRPr lang="en-GB" sz="1400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  <a:p>
          <a:r>
            <a:rPr lang="en-GB" sz="1400" i="1" dirty="0">
              <a:effectLst/>
            </a:rPr>
            <a:t>(and maybe Contracts)</a:t>
          </a:r>
          <a:endParaRPr lang="en-GB" sz="1800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rgbClr val="F3C000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  <a:p>
          <a:r>
            <a:rPr lang="en-GB" sz="1400" i="1" dirty="0">
              <a:effectLst/>
            </a:rPr>
            <a:t>(and maybe Contracts)</a:t>
          </a:r>
          <a:endParaRPr lang="en-GB" sz="1800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rgbClr val="F3C000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 </a:t>
          </a:r>
        </a:p>
        <a:p>
          <a:r>
            <a:rPr lang="en-GB" sz="1400" i="1" dirty="0">
              <a:effectLst/>
            </a:rPr>
            <a:t>(and maybe Contracts)</a:t>
          </a: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>
              <a:effectLst/>
            </a:rPr>
            <a:t>(Performance, Security, Code quality, Mutation, Memory leakage, Contracts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  <a:endParaRPr lang="en-GB" sz="1400" kern="1200" dirty="0">
            <a:effectLst/>
          </a:endParaRP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  <a:endParaRPr lang="en-GB" sz="1800" kern="1200" dirty="0">
            <a:effectLst/>
          </a:endParaRP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rgbClr val="F3C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  <a:endParaRPr lang="en-GB" sz="1800" kern="1200" dirty="0">
            <a:effectLst/>
          </a:endParaRP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rgbClr val="F3C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0C14C8-D46C-472D-B82E-57ACC8DDA413}" type="datetimeFigureOut">
              <a:rPr lang="en-US" smtClean="0"/>
              <a:t>10/17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AAC69F-B662-4A68-BF84-1E6CAAB30CA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5747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0898358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4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15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sz="quarter" idx="21" hasCustomPrompt="1"/>
          </p:nvPr>
        </p:nvSpPr>
        <p:spPr>
          <a:xfrm>
            <a:off x="3715796" y="805072"/>
            <a:ext cx="1712411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8" name="Tijdelijke aanduiding voor afbeelding 2"/>
          <p:cNvSpPr>
            <a:spLocks noGrp="1"/>
          </p:cNvSpPr>
          <p:nvPr>
            <p:ph type="pic" sz="quarter" idx="22" hasCustomPrompt="1"/>
          </p:nvPr>
        </p:nvSpPr>
        <p:spPr>
          <a:xfrm>
            <a:off x="3738542" y="3448585"/>
            <a:ext cx="1666917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471134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" grpId="0" build="p"/>
      <p:bldP spid="8" grpId="0" build="p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4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15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9319178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bg1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1" name="Straight Connector 1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18347458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1763688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074048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tx2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2074335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2074048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7" name="Straight Connector 16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Straight Connector 17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0254651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 uitl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1763688" cy="51435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2074336" y="186900"/>
            <a:ext cx="6688470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2074048" y="347646"/>
            <a:ext cx="668895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078831" y="397886"/>
            <a:ext cx="6692815" cy="210403"/>
            <a:chOff x="2295013" y="532263"/>
            <a:chExt cx="7063733" cy="280537"/>
          </a:xfrm>
        </p:grpSpPr>
        <p:cxnSp>
          <p:nvCxnSpPr>
            <p:cNvPr id="9" name="Straight Connector 8"/>
            <p:cNvCxnSpPr/>
            <p:nvPr/>
          </p:nvCxnSpPr>
          <p:spPr bwMode="auto">
            <a:xfrm>
              <a:off x="2295013" y="812800"/>
              <a:ext cx="6711268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Straight Connector 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89012297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tx2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20603659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3766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348855" y="1766670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2" name="Tijdelijke aanduiding voor tekst 8"/>
          <p:cNvSpPr>
            <a:spLocks noGrp="1"/>
          </p:cNvSpPr>
          <p:nvPr>
            <p:ph type="body" sz="quarter" idx="20" hasCustomPrompt="1"/>
          </p:nvPr>
        </p:nvSpPr>
        <p:spPr>
          <a:xfrm>
            <a:off x="348855" y="2156699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3" name="Tijdelijke aanduiding voor tekst 8"/>
          <p:cNvSpPr>
            <a:spLocks noGrp="1"/>
          </p:cNvSpPr>
          <p:nvPr>
            <p:ph type="body" sz="quarter" idx="21" hasCustomPrompt="1"/>
          </p:nvPr>
        </p:nvSpPr>
        <p:spPr>
          <a:xfrm>
            <a:off x="348855" y="2546727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22" hasCustomPrompt="1"/>
          </p:nvPr>
        </p:nvSpPr>
        <p:spPr>
          <a:xfrm>
            <a:off x="351087" y="2936756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4" name="Tijdelijke aanduiding voor tekst 8"/>
          <p:cNvSpPr>
            <a:spLocks noGrp="1"/>
          </p:cNvSpPr>
          <p:nvPr>
            <p:ph type="body" sz="quarter" idx="23" hasCustomPrompt="1"/>
          </p:nvPr>
        </p:nvSpPr>
        <p:spPr>
          <a:xfrm>
            <a:off x="351087" y="3326784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5" name="Tijdelijke aanduiding voor tekst 8"/>
          <p:cNvSpPr>
            <a:spLocks noGrp="1"/>
          </p:cNvSpPr>
          <p:nvPr>
            <p:ph type="body" sz="quarter" idx="24" hasCustomPrompt="1"/>
          </p:nvPr>
        </p:nvSpPr>
        <p:spPr>
          <a:xfrm>
            <a:off x="351087" y="3716813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5" hasCustomPrompt="1"/>
          </p:nvPr>
        </p:nvSpPr>
        <p:spPr>
          <a:xfrm>
            <a:off x="351087" y="41068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7" name="Titel 1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49141" y="186890"/>
            <a:ext cx="8409682" cy="1582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chemeClr val="bg1"/>
                </a:solidFill>
              </a:rPr>
              <a:t>Index</a:t>
            </a:r>
          </a:p>
        </p:txBody>
      </p:sp>
      <p:sp>
        <p:nvSpPr>
          <p:cNvPr id="21" name="Tijdelijke aanduiding voor tekst 13"/>
          <p:cNvSpPr>
            <a:spLocks noGrp="1"/>
          </p:cNvSpPr>
          <p:nvPr>
            <p:ph type="body" sz="quarter" idx="26" hasCustomPrompt="1"/>
            <p:custDataLst>
              <p:tags r:id="rId2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&lt;presentatietitel&gt;</a:t>
            </a:r>
            <a:endParaRPr lang="nl-NL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26944917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3766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348855" y="1766670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2" name="Tijdelijke aanduiding voor tekst 8"/>
          <p:cNvSpPr>
            <a:spLocks noGrp="1"/>
          </p:cNvSpPr>
          <p:nvPr>
            <p:ph type="body" sz="quarter" idx="20" hasCustomPrompt="1"/>
          </p:nvPr>
        </p:nvSpPr>
        <p:spPr>
          <a:xfrm>
            <a:off x="348855" y="2156699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3" name="Tijdelijke aanduiding voor tekst 8"/>
          <p:cNvSpPr>
            <a:spLocks noGrp="1"/>
          </p:cNvSpPr>
          <p:nvPr>
            <p:ph type="body" sz="quarter" idx="21" hasCustomPrompt="1"/>
          </p:nvPr>
        </p:nvSpPr>
        <p:spPr>
          <a:xfrm>
            <a:off x="348855" y="2546727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22" hasCustomPrompt="1"/>
          </p:nvPr>
        </p:nvSpPr>
        <p:spPr>
          <a:xfrm>
            <a:off x="351087" y="2936756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4" name="Tijdelijke aanduiding voor tekst 8"/>
          <p:cNvSpPr>
            <a:spLocks noGrp="1"/>
          </p:cNvSpPr>
          <p:nvPr>
            <p:ph type="body" sz="quarter" idx="23" hasCustomPrompt="1"/>
          </p:nvPr>
        </p:nvSpPr>
        <p:spPr>
          <a:xfrm>
            <a:off x="351087" y="3326784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5" name="Tijdelijke aanduiding voor tekst 8"/>
          <p:cNvSpPr>
            <a:spLocks noGrp="1"/>
          </p:cNvSpPr>
          <p:nvPr>
            <p:ph type="body" sz="quarter" idx="24" hasCustomPrompt="1"/>
          </p:nvPr>
        </p:nvSpPr>
        <p:spPr>
          <a:xfrm>
            <a:off x="351087" y="3716813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5" hasCustomPrompt="1"/>
          </p:nvPr>
        </p:nvSpPr>
        <p:spPr>
          <a:xfrm>
            <a:off x="351087" y="41068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7" name="Titel 1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49141" y="186890"/>
            <a:ext cx="8409682" cy="1582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Index</a:t>
            </a:r>
          </a:p>
        </p:txBody>
      </p:sp>
      <p:sp>
        <p:nvSpPr>
          <p:cNvPr id="21" name="Tijdelijke aanduiding voor tekst 13"/>
          <p:cNvSpPr>
            <a:spLocks noGrp="1"/>
          </p:cNvSpPr>
          <p:nvPr>
            <p:ph type="body" sz="quarter" idx="26" hasCustomPrompt="1"/>
            <p:custDataLst>
              <p:tags r:id="rId2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&lt;presentatietitel&gt;</a:t>
            </a:r>
            <a:endParaRPr lang="nl-NL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2928540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30399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49141" y="186890"/>
            <a:ext cx="8409682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349142" y="1075881"/>
            <a:ext cx="8402263" cy="3577919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8871956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0" y="186900"/>
            <a:ext cx="8418362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6" y="347646"/>
            <a:ext cx="841896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349141" y="1073428"/>
            <a:ext cx="4026561" cy="3580371"/>
          </a:xfrm>
        </p:spPr>
        <p:txBody>
          <a:bodyPr/>
          <a:lstStyle>
            <a:lvl1pPr>
              <a:defRPr/>
            </a:lvl1pPr>
            <a:lvl2pPr marL="561961" marR="0" indent="-289315" algn="l" defTabSz="68578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286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2pPr>
          </a:lstStyle>
          <a:p>
            <a:pPr lvl="0"/>
            <a:r>
              <a:rPr lang="nl-NL" dirty="0"/>
              <a:t>Klik om de modelstijlen te bewerken</a:t>
            </a:r>
          </a:p>
          <a:p>
            <a:pPr marL="561961" marR="0" lvl="1" indent="-289315" algn="l" defTabSz="68578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286"/>
              </a:buClr>
              <a:buSzPct val="13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004C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" name="Tijdelijke aanduiding voor tekst 8"/>
          <p:cNvSpPr>
            <a:spLocks noGrp="1"/>
          </p:cNvSpPr>
          <p:nvPr>
            <p:ph type="body" sz="quarter" idx="19"/>
          </p:nvPr>
        </p:nvSpPr>
        <p:spPr>
          <a:xfrm>
            <a:off x="4709936" y="1073428"/>
            <a:ext cx="4026561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3" name="Straight Connector 12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Straight Connector 1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79469411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425" y="252000"/>
            <a:ext cx="1496010" cy="360000"/>
          </a:xfrm>
          <a:prstGeom prst="rect">
            <a:avLst/>
          </a:prstGeom>
        </p:spPr>
      </p:pic>
      <p:sp>
        <p:nvSpPr>
          <p:cNvPr id="4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200114"/>
      </p:ext>
    </p:extLst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100% - witt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2"/>
            <a:ext cx="9144001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356028"/>
            <a:ext cx="8649809" cy="1983641"/>
          </a:xfr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6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0114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2"/>
            <a:ext cx="9144001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356028"/>
            <a:ext cx="8649809" cy="1983641"/>
          </a:xfrm>
        </p:spPr>
        <p:txBody>
          <a:bodyPr/>
          <a:lstStyle>
            <a:lvl1pPr>
              <a:defRPr sz="4500" b="1" baseline="0">
                <a:solidFill>
                  <a:schemeClr val="bg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6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698263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3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1" name="Tijdelijke aanduiding voor afbeelding 10"/>
          <p:cNvSpPr>
            <a:spLocks noGrp="1"/>
          </p:cNvSpPr>
          <p:nvPr>
            <p:ph type="pic" sz="quarter" idx="21" hasCustomPrompt="1"/>
          </p:nvPr>
        </p:nvSpPr>
        <p:spPr>
          <a:xfrm>
            <a:off x="1278733" y="1059659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86834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7" name="Tijdelijke aanduiding voor afbeelding 10"/>
          <p:cNvSpPr>
            <a:spLocks noGrp="1"/>
          </p:cNvSpPr>
          <p:nvPr>
            <p:ph type="pic" sz="quarter" idx="23" hasCustomPrompt="1"/>
          </p:nvPr>
        </p:nvSpPr>
        <p:spPr>
          <a:xfrm>
            <a:off x="6457949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9" name="Tijdelijke aanduiding voor tekst 8"/>
          <p:cNvSpPr>
            <a:spLocks noGrp="1"/>
          </p:cNvSpPr>
          <p:nvPr>
            <p:ph type="body" sz="quarter" idx="25"/>
          </p:nvPr>
        </p:nvSpPr>
        <p:spPr>
          <a:xfrm>
            <a:off x="1001807" y="3375313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0" name="Tijdelijke aanduiding voor tekst 26"/>
          <p:cNvSpPr>
            <a:spLocks noGrp="1"/>
          </p:cNvSpPr>
          <p:nvPr>
            <p:ph type="body" sz="quarter" idx="26" hasCustomPrompt="1"/>
          </p:nvPr>
        </p:nvSpPr>
        <p:spPr>
          <a:xfrm>
            <a:off x="1560910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3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4150518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4" name="Tijdelijke aanduiding voor tekst 26"/>
          <p:cNvSpPr>
            <a:spLocks noGrp="1"/>
          </p:cNvSpPr>
          <p:nvPr>
            <p:ph type="body" sz="quarter" idx="28" hasCustomPrompt="1"/>
          </p:nvPr>
        </p:nvSpPr>
        <p:spPr>
          <a:xfrm>
            <a:off x="6740126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5" name="Tijdelijke aanduiding voor tekst 8"/>
          <p:cNvSpPr>
            <a:spLocks noGrp="1"/>
          </p:cNvSpPr>
          <p:nvPr>
            <p:ph type="body" sz="quarter" idx="29" hasCustomPrompt="1"/>
          </p:nvPr>
        </p:nvSpPr>
        <p:spPr>
          <a:xfrm>
            <a:off x="1001807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6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3591412" y="2604145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7" name="Tijdelijke aanduiding voor tekst 8"/>
          <p:cNvSpPr>
            <a:spLocks noGrp="1"/>
          </p:cNvSpPr>
          <p:nvPr>
            <p:ph type="body" sz="quarter" idx="31" hasCustomPrompt="1"/>
          </p:nvPr>
        </p:nvSpPr>
        <p:spPr>
          <a:xfrm>
            <a:off x="6181016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79" name="Tijdelijke aanduiding voor tekst 8"/>
          <p:cNvSpPr>
            <a:spLocks noGrp="1"/>
          </p:cNvSpPr>
          <p:nvPr>
            <p:ph type="body" sz="quarter" idx="32" hasCustomPrompt="1"/>
          </p:nvPr>
        </p:nvSpPr>
        <p:spPr>
          <a:xfrm>
            <a:off x="1001807" y="2957393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2" name="Tijdelijke aanduiding voor tekst 8"/>
          <p:cNvSpPr>
            <a:spLocks noGrp="1"/>
          </p:cNvSpPr>
          <p:nvPr>
            <p:ph type="body" sz="quarter" idx="35" hasCustomPrompt="1"/>
          </p:nvPr>
        </p:nvSpPr>
        <p:spPr>
          <a:xfrm>
            <a:off x="1001807" y="3155726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83" name="Tijdelijke aanduiding voor tekst 8"/>
          <p:cNvSpPr>
            <a:spLocks noGrp="1"/>
          </p:cNvSpPr>
          <p:nvPr>
            <p:ph type="body" sz="quarter" idx="36"/>
          </p:nvPr>
        </p:nvSpPr>
        <p:spPr>
          <a:xfrm>
            <a:off x="3591412" y="3377569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4" name="Tijdelijke aanduiding voor tekst 8"/>
          <p:cNvSpPr>
            <a:spLocks noGrp="1"/>
          </p:cNvSpPr>
          <p:nvPr>
            <p:ph type="body" sz="quarter" idx="37" hasCustomPrompt="1"/>
          </p:nvPr>
        </p:nvSpPr>
        <p:spPr>
          <a:xfrm>
            <a:off x="3591412" y="2959649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5" name="Tijdelijke aanduiding voor tekst 8"/>
          <p:cNvSpPr>
            <a:spLocks noGrp="1"/>
          </p:cNvSpPr>
          <p:nvPr>
            <p:ph type="body" sz="quarter" idx="38" hasCustomPrompt="1"/>
          </p:nvPr>
        </p:nvSpPr>
        <p:spPr>
          <a:xfrm>
            <a:off x="3591412" y="3157982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86" name="Tijdelijke aanduiding voor tekst 8"/>
          <p:cNvSpPr>
            <a:spLocks noGrp="1"/>
          </p:cNvSpPr>
          <p:nvPr>
            <p:ph type="body" sz="quarter" idx="39"/>
          </p:nvPr>
        </p:nvSpPr>
        <p:spPr>
          <a:xfrm>
            <a:off x="6171194" y="3379825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7" name="Tijdelijke aanduiding voor tekst 8"/>
          <p:cNvSpPr>
            <a:spLocks noGrp="1"/>
          </p:cNvSpPr>
          <p:nvPr>
            <p:ph type="body" sz="quarter" idx="40" hasCustomPrompt="1"/>
          </p:nvPr>
        </p:nvSpPr>
        <p:spPr>
          <a:xfrm>
            <a:off x="6171194" y="2961905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8" name="Tijdelijke aanduiding voor tekst 8"/>
          <p:cNvSpPr>
            <a:spLocks noGrp="1"/>
          </p:cNvSpPr>
          <p:nvPr>
            <p:ph type="body" sz="quarter" idx="41" hasCustomPrompt="1"/>
          </p:nvPr>
        </p:nvSpPr>
        <p:spPr>
          <a:xfrm>
            <a:off x="6171194" y="3160238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9" name="Straight Connector 2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Straight Connector 2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91855135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2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531207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4" y="347646"/>
            <a:ext cx="853182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1" name="Tijdelijke aanduiding voor afbeelding 10"/>
          <p:cNvSpPr>
            <a:spLocks noGrp="1"/>
          </p:cNvSpPr>
          <p:nvPr>
            <p:ph type="pic" sz="quarter" idx="21" hasCustomPrompt="1"/>
          </p:nvPr>
        </p:nvSpPr>
        <p:spPr>
          <a:xfrm>
            <a:off x="257175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5161360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 AFBEELDING IN TE VOEGEN</a:t>
            </a:r>
          </a:p>
        </p:txBody>
      </p:sp>
      <p:sp>
        <p:nvSpPr>
          <p:cNvPr id="20" name="Tijdelijke aanduiding voor tekst 26"/>
          <p:cNvSpPr>
            <a:spLocks noGrp="1"/>
          </p:cNvSpPr>
          <p:nvPr>
            <p:ph type="body" sz="quarter" idx="26" hasCustomPrompt="1"/>
          </p:nvPr>
        </p:nvSpPr>
        <p:spPr>
          <a:xfrm>
            <a:off x="2853929" y="2869051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3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5443537" y="2869051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5" name="Tijdelijke aanduiding voor tekst 8"/>
          <p:cNvSpPr>
            <a:spLocks noGrp="1"/>
          </p:cNvSpPr>
          <p:nvPr>
            <p:ph type="body" sz="quarter" idx="29" hasCustomPrompt="1"/>
          </p:nvPr>
        </p:nvSpPr>
        <p:spPr>
          <a:xfrm>
            <a:off x="2294825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6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4884431" y="2604144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115" name="Tijdelijke aanduiding voor tekst 8"/>
          <p:cNvSpPr>
            <a:spLocks noGrp="1"/>
          </p:cNvSpPr>
          <p:nvPr>
            <p:ph type="body" sz="quarter" idx="42"/>
          </p:nvPr>
        </p:nvSpPr>
        <p:spPr>
          <a:xfrm>
            <a:off x="4884431" y="3379825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16" name="Tijdelijke aanduiding voor tekst 8"/>
          <p:cNvSpPr>
            <a:spLocks noGrp="1"/>
          </p:cNvSpPr>
          <p:nvPr>
            <p:ph type="body" sz="quarter" idx="43" hasCustomPrompt="1"/>
          </p:nvPr>
        </p:nvSpPr>
        <p:spPr>
          <a:xfrm>
            <a:off x="4884431" y="2961905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17" name="Tijdelijke aanduiding voor tekst 8"/>
          <p:cNvSpPr>
            <a:spLocks noGrp="1"/>
          </p:cNvSpPr>
          <p:nvPr>
            <p:ph type="body" sz="quarter" idx="44" hasCustomPrompt="1"/>
          </p:nvPr>
        </p:nvSpPr>
        <p:spPr>
          <a:xfrm>
            <a:off x="4884431" y="3160238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118" name="Tijdelijke aanduiding voor tekst 8"/>
          <p:cNvSpPr>
            <a:spLocks noGrp="1"/>
          </p:cNvSpPr>
          <p:nvPr>
            <p:ph type="body" sz="quarter" idx="45"/>
          </p:nvPr>
        </p:nvSpPr>
        <p:spPr>
          <a:xfrm>
            <a:off x="2294825" y="3382081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19" name="Tijdelijke aanduiding voor tekst 8"/>
          <p:cNvSpPr>
            <a:spLocks noGrp="1"/>
          </p:cNvSpPr>
          <p:nvPr>
            <p:ph type="body" sz="quarter" idx="46" hasCustomPrompt="1"/>
          </p:nvPr>
        </p:nvSpPr>
        <p:spPr>
          <a:xfrm>
            <a:off x="2294825" y="2964161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20" name="Tijdelijke aanduiding voor tekst 8"/>
          <p:cNvSpPr>
            <a:spLocks noGrp="1"/>
          </p:cNvSpPr>
          <p:nvPr>
            <p:ph type="body" sz="quarter" idx="47" hasCustomPrompt="1"/>
          </p:nvPr>
        </p:nvSpPr>
        <p:spPr>
          <a:xfrm>
            <a:off x="2294825" y="3162494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1" name="Straight Connector 2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Straight Connector 2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4916021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1 pers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1" y="186900"/>
            <a:ext cx="8583290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583908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86834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01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4150518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102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3591412" y="2604145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103" name="Tijdelijke aanduiding voor tekst 8"/>
          <p:cNvSpPr>
            <a:spLocks noGrp="1"/>
          </p:cNvSpPr>
          <p:nvPr>
            <p:ph type="body" sz="quarter" idx="36"/>
          </p:nvPr>
        </p:nvSpPr>
        <p:spPr>
          <a:xfrm>
            <a:off x="3591412" y="3377569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4" name="Tijdelijke aanduiding voor tekst 8"/>
          <p:cNvSpPr>
            <a:spLocks noGrp="1"/>
          </p:cNvSpPr>
          <p:nvPr>
            <p:ph type="body" sz="quarter" idx="37" hasCustomPrompt="1"/>
          </p:nvPr>
        </p:nvSpPr>
        <p:spPr>
          <a:xfrm>
            <a:off x="3591412" y="2959649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05" name="Tijdelijke aanduiding voor tekst 8"/>
          <p:cNvSpPr>
            <a:spLocks noGrp="1"/>
          </p:cNvSpPr>
          <p:nvPr>
            <p:ph type="body" sz="quarter" idx="38" hasCustomPrompt="1"/>
          </p:nvPr>
        </p:nvSpPr>
        <p:spPr>
          <a:xfrm>
            <a:off x="3591412" y="3157982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5" name="Straight Connector 1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Straight Connector 1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17730772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5211236" y="1075970"/>
            <a:ext cx="3577955" cy="1709472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1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91809"/>
            <a:ext cx="8444403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6" y="352632"/>
            <a:ext cx="8445011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3036536"/>
            <a:ext cx="3577956" cy="1617263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4174676" y="3036536"/>
            <a:ext cx="4614515" cy="1617263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348853" y="1075970"/>
            <a:ext cx="4614516" cy="170947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90212622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6136839" y="1086195"/>
            <a:ext cx="2652350" cy="10927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1" y="186900"/>
            <a:ext cx="8479125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47973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1084454"/>
            <a:ext cx="2638872" cy="109578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3240272" y="2444240"/>
            <a:ext cx="2644020" cy="2209673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348854" y="2440156"/>
            <a:ext cx="2638873" cy="221364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9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240272" y="1082659"/>
            <a:ext cx="2644019" cy="10927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30" name="Tijdelijke aanduiding voor tekst 8"/>
          <p:cNvSpPr>
            <a:spLocks noGrp="1"/>
          </p:cNvSpPr>
          <p:nvPr>
            <p:ph type="body" sz="quarter" idx="23"/>
          </p:nvPr>
        </p:nvSpPr>
        <p:spPr>
          <a:xfrm>
            <a:off x="6136838" y="2440156"/>
            <a:ext cx="2644019" cy="221364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78944104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4 - voors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349899" y="1082446"/>
            <a:ext cx="1247027" cy="69611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427043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427650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2030574"/>
            <a:ext cx="1248835" cy="7014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1841854" y="2030574"/>
            <a:ext cx="6947336" cy="70144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1841853" y="1073427"/>
            <a:ext cx="6910978" cy="68583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9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52697" y="2985470"/>
            <a:ext cx="1245390" cy="707387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 AFBEELDING IN TE VOEGEN</a:t>
            </a:r>
          </a:p>
        </p:txBody>
      </p:sp>
      <p:sp>
        <p:nvSpPr>
          <p:cNvPr id="30" name="Tijdelijke aanduiding voor tekst 8"/>
          <p:cNvSpPr>
            <a:spLocks noGrp="1"/>
          </p:cNvSpPr>
          <p:nvPr>
            <p:ph type="body" sz="quarter" idx="23"/>
          </p:nvPr>
        </p:nvSpPr>
        <p:spPr>
          <a:xfrm>
            <a:off x="1841854" y="2985469"/>
            <a:ext cx="6955981" cy="68418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34" name="Tijdelijke aanduiding voor afbeelding 10"/>
          <p:cNvSpPr>
            <a:spLocks noGrp="1"/>
          </p:cNvSpPr>
          <p:nvPr>
            <p:ph type="pic" sz="quarter" idx="24" hasCustomPrompt="1"/>
          </p:nvPr>
        </p:nvSpPr>
        <p:spPr>
          <a:xfrm>
            <a:off x="348856" y="3944868"/>
            <a:ext cx="1248071" cy="70513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35" name="Tijdelijke aanduiding voor tekst 8"/>
          <p:cNvSpPr>
            <a:spLocks noGrp="1"/>
          </p:cNvSpPr>
          <p:nvPr>
            <p:ph type="body" sz="quarter" idx="25"/>
          </p:nvPr>
        </p:nvSpPr>
        <p:spPr>
          <a:xfrm>
            <a:off x="1841854" y="3944868"/>
            <a:ext cx="6947336" cy="70513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2740940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sual foto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3" y="188886"/>
            <a:ext cx="8409682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44" name="Group 4"/>
          <p:cNvGrpSpPr>
            <a:grpSpLocks noChangeAspect="1"/>
          </p:cNvGrpSpPr>
          <p:nvPr userDrawn="1"/>
        </p:nvGrpSpPr>
        <p:grpSpPr bwMode="auto">
          <a:xfrm>
            <a:off x="2831258" y="1898568"/>
            <a:ext cx="3418995" cy="1958072"/>
            <a:chOff x="704" y="364"/>
            <a:chExt cx="6272" cy="3592"/>
          </a:xfrm>
        </p:grpSpPr>
        <p:sp>
          <p:nvSpPr>
            <p:cNvPr id="45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46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6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7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8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7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8" name="Tijdelijke aanduiding voor afbeelding 10"/>
          <p:cNvSpPr>
            <a:spLocks noGrp="1"/>
          </p:cNvSpPr>
          <p:nvPr>
            <p:ph type="pic" sz="quarter" idx="14"/>
          </p:nvPr>
        </p:nvSpPr>
        <p:spPr>
          <a:xfrm>
            <a:off x="3305872" y="2013141"/>
            <a:ext cx="2420906" cy="1524533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nl-NL" dirty="0"/>
          </a:p>
        </p:txBody>
      </p:sp>
      <p:sp>
        <p:nvSpPr>
          <p:cNvPr id="91" name="Tijdelijke aanduiding voor tekst 5"/>
          <p:cNvSpPr>
            <a:spLocks noGrp="1"/>
          </p:cNvSpPr>
          <p:nvPr>
            <p:ph type="body" sz="quarter" idx="23"/>
          </p:nvPr>
        </p:nvSpPr>
        <p:spPr>
          <a:xfrm>
            <a:off x="363591" y="1569246"/>
            <a:ext cx="1784747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2" name="Tijdelijke aanduiding voor tekst 5"/>
          <p:cNvSpPr>
            <a:spLocks noGrp="1"/>
          </p:cNvSpPr>
          <p:nvPr>
            <p:ph type="body" sz="quarter" idx="26"/>
          </p:nvPr>
        </p:nvSpPr>
        <p:spPr>
          <a:xfrm>
            <a:off x="381001" y="2519924"/>
            <a:ext cx="1767332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3" name="Tijdelijke aanduiding voor tekst 5"/>
          <p:cNvSpPr>
            <a:spLocks noGrp="1"/>
          </p:cNvSpPr>
          <p:nvPr>
            <p:ph type="body" sz="quarter" idx="27"/>
          </p:nvPr>
        </p:nvSpPr>
        <p:spPr>
          <a:xfrm>
            <a:off x="381001" y="3534680"/>
            <a:ext cx="1767332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4" name="Tijdelijke aanduiding voor tekst 5"/>
          <p:cNvSpPr>
            <a:spLocks noGrp="1"/>
          </p:cNvSpPr>
          <p:nvPr>
            <p:ph type="body" sz="quarter" idx="28"/>
          </p:nvPr>
        </p:nvSpPr>
        <p:spPr>
          <a:xfrm>
            <a:off x="6999340" y="1569246"/>
            <a:ext cx="1795415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02" name="Tijdelijke aanduiding voor tekst 5"/>
          <p:cNvSpPr>
            <a:spLocks noGrp="1"/>
          </p:cNvSpPr>
          <p:nvPr>
            <p:ph type="body" sz="quarter" idx="29"/>
          </p:nvPr>
        </p:nvSpPr>
        <p:spPr>
          <a:xfrm>
            <a:off x="7016755" y="2519924"/>
            <a:ext cx="1777897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03" name="Tijdelijke aanduiding voor tekst 5"/>
          <p:cNvSpPr>
            <a:spLocks noGrp="1"/>
          </p:cNvSpPr>
          <p:nvPr>
            <p:ph type="body" sz="quarter" idx="30"/>
          </p:nvPr>
        </p:nvSpPr>
        <p:spPr>
          <a:xfrm>
            <a:off x="7016752" y="3534680"/>
            <a:ext cx="1778000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3" name="Straight Connector 32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Straight Connector 3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25131970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25% -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19756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jdelijke aanduiding voor tekst 8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349142" y="1073428"/>
            <a:ext cx="2488301" cy="3580371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</p:txBody>
      </p:sp>
      <p:sp>
        <p:nvSpPr>
          <p:cNvPr id="106" name="Rectangle 7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sp>
        <p:nvSpPr>
          <p:cNvPr id="141" name="Tijdelijke aanduiding voor tekst 13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48855" y="347569"/>
            <a:ext cx="8427650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42" name="Group 141"/>
          <p:cNvGrpSpPr/>
          <p:nvPr userDrawn="1">
            <p:custDataLst>
              <p:tags r:id="rId5"/>
            </p:custDataLst>
          </p:nvPr>
        </p:nvGrpSpPr>
        <p:grpSpPr>
          <a:xfrm>
            <a:off x="347663" y="397918"/>
            <a:ext cx="8411896" cy="210403"/>
            <a:chOff x="403647" y="532263"/>
            <a:chExt cx="8955099" cy="280537"/>
          </a:xfrm>
        </p:grpSpPr>
        <p:cxnSp>
          <p:nvCxnSpPr>
            <p:cNvPr id="143" name="Straight Connector 142"/>
            <p:cNvCxnSpPr/>
            <p:nvPr userDrawn="1"/>
          </p:nvCxnSpPr>
          <p:spPr bwMode="auto">
            <a:xfrm>
              <a:off x="403647" y="812800"/>
              <a:ext cx="8602634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" name="Straight Connector 14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  <p:custDataLst>
              <p:tags r:id="rId6"/>
            </p:custDataLst>
          </p:nvPr>
        </p:nvSpPr>
        <p:spPr>
          <a:xfrm>
            <a:off x="3066751" y="2"/>
            <a:ext cx="6077250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</p:spTree>
    <p:extLst>
      <p:ext uri="{BB962C8B-B14F-4D97-AF65-F5344CB8AC3E}">
        <p14:creationId xmlns:p14="http://schemas.microsoft.com/office/powerpoint/2010/main" val="104466537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14" name="Rectangle 7"/>
          <p:cNvSpPr>
            <a:spLocks noGrp="1" noChangeArrowheads="1"/>
          </p:cNvSpPr>
          <p:nvPr userDrawn="1"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312793009"/>
      </p:ext>
    </p:extLst>
  </p:cSld>
  <p:clrMapOvr>
    <a:masterClrMapping/>
  </p:clrMapOvr>
  <p:transition spd="slow">
    <p:push dir="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4"/>
          <p:cNvGrpSpPr>
            <a:grpSpLocks noChangeAspect="1"/>
          </p:cNvGrpSpPr>
          <p:nvPr userDrawn="1"/>
        </p:nvGrpSpPr>
        <p:grpSpPr bwMode="auto">
          <a:xfrm>
            <a:off x="1543050" y="1086954"/>
            <a:ext cx="6057900" cy="3469382"/>
            <a:chOff x="704" y="364"/>
            <a:chExt cx="6272" cy="3592"/>
          </a:xfrm>
        </p:grpSpPr>
        <p:sp>
          <p:nvSpPr>
            <p:cNvPr id="1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3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2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1" name="Tijdelijke aanduiding voor media 10"/>
          <p:cNvSpPr>
            <a:spLocks noGrp="1"/>
          </p:cNvSpPr>
          <p:nvPr>
            <p:ph type="media" sz="quarter" idx="16" hasCustomPrompt="1"/>
          </p:nvPr>
        </p:nvSpPr>
        <p:spPr>
          <a:xfrm>
            <a:off x="2423048" y="1297812"/>
            <a:ext cx="4233609" cy="2704584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VIDEO IN TE VOEGEN</a:t>
            </a:r>
          </a:p>
        </p:txBody>
      </p:sp>
      <p:sp>
        <p:nvSpPr>
          <p:cNvPr id="43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/>
              <a:t>hoofdstuk</a:t>
            </a:r>
          </a:p>
        </p:txBody>
      </p:sp>
      <p:sp>
        <p:nvSpPr>
          <p:cNvPr id="45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56654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4" name="Straight Connector 3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Straight Connector 3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4420780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50% -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39752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397549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9142" y="1073428"/>
            <a:ext cx="3975209" cy="3568010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4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1" name="Straight Connector 1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5182621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75% -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6077250" y="0"/>
            <a:ext cx="306675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4" y="347172"/>
            <a:ext cx="5480637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9142" y="1073428"/>
            <a:ext cx="5480243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1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Straight Connector 1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71670827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75% -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2"/>
            <a:ext cx="6077250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25648" y="200912"/>
            <a:ext cx="24884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6425361" y="359200"/>
            <a:ext cx="24885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>
                <a:solidFill>
                  <a:schemeClr val="bg2"/>
                </a:solidFill>
              </a:rPr>
              <a:t>Typ hier uw titel</a:t>
            </a:r>
            <a:endParaRPr lang="nl-NL"/>
          </a:p>
        </p:txBody>
      </p:sp>
      <p:sp>
        <p:nvSpPr>
          <p:cNvPr id="23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6425648" y="1073428"/>
            <a:ext cx="2488301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cxnSp>
        <p:nvCxnSpPr>
          <p:cNvPr id="15" name="Straight Connector 14"/>
          <p:cNvCxnSpPr/>
          <p:nvPr/>
        </p:nvCxnSpPr>
        <p:spPr bwMode="auto">
          <a:xfrm>
            <a:off x="6426994" y="608289"/>
            <a:ext cx="2010693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928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5"/>
          <p:cNvCxnSpPr/>
          <p:nvPr/>
        </p:nvCxnSpPr>
        <p:spPr bwMode="auto">
          <a:xfrm flipV="1">
            <a:off x="8437688" y="397887"/>
            <a:ext cx="333957" cy="21040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928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24096345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50% -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4922802" y="188884"/>
            <a:ext cx="39752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4922514" y="349630"/>
            <a:ext cx="397549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4922802" y="1073428"/>
            <a:ext cx="3975209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4922044" y="397886"/>
            <a:ext cx="3849602" cy="210403"/>
            <a:chOff x="5295798" y="532263"/>
            <a:chExt cx="406294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5295798" y="812800"/>
              <a:ext cx="371048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90428455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25% -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06675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14380" y="188884"/>
            <a:ext cx="5480243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14092" y="349630"/>
            <a:ext cx="5480637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14380" y="1073428"/>
            <a:ext cx="5480243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3418113" y="397886"/>
            <a:ext cx="5353531" cy="210403"/>
            <a:chOff x="3708520" y="532263"/>
            <a:chExt cx="5650226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3708520" y="812800"/>
              <a:ext cx="5297761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606275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4"/>
          <p:cNvGrpSpPr>
            <a:grpSpLocks noChangeAspect="1"/>
          </p:cNvGrpSpPr>
          <p:nvPr userDrawn="1"/>
        </p:nvGrpSpPr>
        <p:grpSpPr bwMode="auto">
          <a:xfrm>
            <a:off x="1543050" y="1086954"/>
            <a:ext cx="6057900" cy="3469382"/>
            <a:chOff x="704" y="364"/>
            <a:chExt cx="6272" cy="3592"/>
          </a:xfrm>
        </p:grpSpPr>
        <p:sp>
          <p:nvSpPr>
            <p:cNvPr id="1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3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2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1" name="Tijdelijke aanduiding voor media 10"/>
          <p:cNvSpPr>
            <a:spLocks noGrp="1"/>
          </p:cNvSpPr>
          <p:nvPr>
            <p:ph type="media" sz="quarter" idx="16" hasCustomPrompt="1"/>
          </p:nvPr>
        </p:nvSpPr>
        <p:spPr>
          <a:xfrm>
            <a:off x="2423048" y="1297812"/>
            <a:ext cx="4233609" cy="2704584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VIDEO IN TE VOEGEN</a:t>
            </a:r>
          </a:p>
        </p:txBody>
      </p:sp>
      <p:sp>
        <p:nvSpPr>
          <p:cNvPr id="45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56654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33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5" name="Straight Connector 3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Straight Connector 3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8356868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512" y="2161894"/>
            <a:ext cx="3228975" cy="819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468693"/>
      </p:ext>
    </p:extLst>
  </p:cSld>
  <p:clrMapOvr>
    <a:masterClrMapping/>
  </p:clrMapOvr>
  <p:transition spd="slow">
    <p:push dir="u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su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49145" y="188886"/>
            <a:ext cx="843972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Planning communicatie</a:t>
            </a:r>
          </a:p>
        </p:txBody>
      </p:sp>
      <p:sp>
        <p:nvSpPr>
          <p:cNvPr id="26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60" y="349630"/>
            <a:ext cx="8440337" cy="215100"/>
          </a:xfrm>
        </p:spPr>
        <p:txBody>
          <a:bodyPr anchor="t">
            <a:normAutofit/>
          </a:bodyPr>
          <a:lstStyle>
            <a:lvl1pPr marL="0" marR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>
                <a:solidFill>
                  <a:schemeClr val="bg2"/>
                </a:solidFill>
              </a:rPr>
              <a:t>Typ hier uw titel</a:t>
            </a:r>
            <a:endParaRPr lang="nl-NL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8" name="Straight Connector 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Straight Connector 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592052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40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8BDAE-A562-4667-82DD-5BE61974BD31}" type="datetimeFigureOut">
              <a:rPr lang="id-ID" smtClean="0">
                <a:solidFill>
                  <a:prstClr val="white"/>
                </a:solidFill>
              </a:rPr>
              <a:pPr/>
              <a:t>17/10/23</a:t>
            </a:fld>
            <a:endParaRPr lang="id-ID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3462255"/>
      </p:ext>
    </p:extLst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10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286"/>
                </a:solidFill>
              </a:rPr>
              <a:t>hoofdstuk</a:t>
            </a:r>
          </a:p>
        </p:txBody>
      </p:sp>
      <p:sp>
        <p:nvSpPr>
          <p:cNvPr id="14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Straight Connector 12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93293074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906886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3140411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ep 38"/>
          <p:cNvGrpSpPr/>
          <p:nvPr userDrawn="1"/>
        </p:nvGrpSpPr>
        <p:grpSpPr>
          <a:xfrm>
            <a:off x="371277" y="838197"/>
            <a:ext cx="8400369" cy="3729436"/>
            <a:chOff x="464236" y="1434907"/>
            <a:chExt cx="10503880" cy="4768951"/>
          </a:xfrm>
        </p:grpSpPr>
        <p:grpSp>
          <p:nvGrpSpPr>
            <p:cNvPr id="5" name="Groep 54"/>
            <p:cNvGrpSpPr/>
            <p:nvPr/>
          </p:nvGrpSpPr>
          <p:grpSpPr>
            <a:xfrm>
              <a:off x="464236" y="1434908"/>
              <a:ext cx="10503879" cy="4768948"/>
              <a:chOff x="0" y="1434908"/>
              <a:chExt cx="14461588" cy="4768948"/>
            </a:xfrm>
          </p:grpSpPr>
          <p:cxnSp>
            <p:nvCxnSpPr>
              <p:cNvPr id="15" name="Rechte verbindingslijn 64"/>
              <p:cNvCxnSpPr/>
              <p:nvPr/>
            </p:nvCxnSpPr>
            <p:spPr>
              <a:xfrm>
                <a:off x="0" y="1434908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65"/>
              <p:cNvCxnSpPr/>
              <p:nvPr/>
            </p:nvCxnSpPr>
            <p:spPr>
              <a:xfrm>
                <a:off x="0" y="6203856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Rechte verbindingslijn 66"/>
              <p:cNvCxnSpPr/>
              <p:nvPr/>
            </p:nvCxnSpPr>
            <p:spPr>
              <a:xfrm>
                <a:off x="0" y="2627144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67"/>
              <p:cNvCxnSpPr/>
              <p:nvPr/>
            </p:nvCxnSpPr>
            <p:spPr>
              <a:xfrm>
                <a:off x="0" y="3819382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68"/>
              <p:cNvCxnSpPr/>
              <p:nvPr/>
            </p:nvCxnSpPr>
            <p:spPr>
              <a:xfrm>
                <a:off x="0" y="5011620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oep 55"/>
            <p:cNvGrpSpPr/>
            <p:nvPr/>
          </p:nvGrpSpPr>
          <p:grpSpPr>
            <a:xfrm>
              <a:off x="464238" y="1434907"/>
              <a:ext cx="10503878" cy="4768951"/>
              <a:chOff x="464238" y="1165233"/>
              <a:chExt cx="10503878" cy="5575571"/>
            </a:xfrm>
          </p:grpSpPr>
          <p:cxnSp>
            <p:nvCxnSpPr>
              <p:cNvPr id="7" name="Rechte verbindingslijn 56"/>
              <p:cNvCxnSpPr/>
              <p:nvPr/>
            </p:nvCxnSpPr>
            <p:spPr>
              <a:xfrm rot="16200000">
                <a:off x="-232354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Rechte verbindingslijn 57"/>
              <p:cNvCxnSpPr/>
              <p:nvPr/>
            </p:nvCxnSpPr>
            <p:spPr>
              <a:xfrm rot="16200000">
                <a:off x="5554363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Rechte verbindingslijn 58"/>
              <p:cNvCxnSpPr/>
              <p:nvPr/>
            </p:nvCxnSpPr>
            <p:spPr>
              <a:xfrm rot="16200000">
                <a:off x="4241379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Rechte verbindingslijn 59"/>
              <p:cNvCxnSpPr/>
              <p:nvPr/>
            </p:nvCxnSpPr>
            <p:spPr>
              <a:xfrm rot="16200000">
                <a:off x="1615409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Rechte verbindingslijn 60"/>
              <p:cNvCxnSpPr/>
              <p:nvPr/>
            </p:nvCxnSpPr>
            <p:spPr>
              <a:xfrm rot="16200000">
                <a:off x="302424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Rechte verbindingslijn 61"/>
              <p:cNvCxnSpPr/>
              <p:nvPr/>
            </p:nvCxnSpPr>
            <p:spPr>
              <a:xfrm rot="16200000">
                <a:off x="2928394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Rechte verbindingslijn 62"/>
              <p:cNvCxnSpPr/>
              <p:nvPr/>
            </p:nvCxnSpPr>
            <p:spPr>
              <a:xfrm rot="16200000">
                <a:off x="818033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Rechte verbindingslijn 63"/>
              <p:cNvCxnSpPr/>
              <p:nvPr/>
            </p:nvCxnSpPr>
            <p:spPr>
              <a:xfrm rot="16200000">
                <a:off x="-1010561" y="3953018"/>
                <a:ext cx="5575569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57"/>
              <p:cNvCxnSpPr/>
              <p:nvPr userDrawn="1"/>
            </p:nvCxnSpPr>
            <p:spPr>
              <a:xfrm rot="16200000">
                <a:off x="6867348" y="3953020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0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54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286"/>
                </a:solidFill>
              </a:rPr>
              <a:t>Icons</a:t>
            </a:r>
          </a:p>
        </p:txBody>
      </p:sp>
      <p:sp>
        <p:nvSpPr>
          <p:cNvPr id="5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6" name="Straight Connector 2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Straight Connector 26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502893083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oep 38"/>
          <p:cNvGrpSpPr/>
          <p:nvPr userDrawn="1"/>
        </p:nvGrpSpPr>
        <p:grpSpPr>
          <a:xfrm>
            <a:off x="372558" y="833371"/>
            <a:ext cx="8161846" cy="3706828"/>
            <a:chOff x="464236" y="1434908"/>
            <a:chExt cx="10503880" cy="4768948"/>
          </a:xfrm>
        </p:grpSpPr>
        <p:grpSp>
          <p:nvGrpSpPr>
            <p:cNvPr id="118" name="Groep 54"/>
            <p:cNvGrpSpPr/>
            <p:nvPr/>
          </p:nvGrpSpPr>
          <p:grpSpPr>
            <a:xfrm>
              <a:off x="464236" y="1434908"/>
              <a:ext cx="10503879" cy="4768948"/>
              <a:chOff x="0" y="1434908"/>
              <a:chExt cx="14461588" cy="4768948"/>
            </a:xfrm>
          </p:grpSpPr>
          <p:cxnSp>
            <p:nvCxnSpPr>
              <p:cNvPr id="128" name="Rechte verbindingslijn 64"/>
              <p:cNvCxnSpPr/>
              <p:nvPr/>
            </p:nvCxnSpPr>
            <p:spPr>
              <a:xfrm>
                <a:off x="0" y="1434908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Rechte verbindingslijn 65"/>
              <p:cNvCxnSpPr/>
              <p:nvPr/>
            </p:nvCxnSpPr>
            <p:spPr>
              <a:xfrm>
                <a:off x="0" y="6203856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Rechte verbindingslijn 66"/>
              <p:cNvCxnSpPr/>
              <p:nvPr/>
            </p:nvCxnSpPr>
            <p:spPr>
              <a:xfrm>
                <a:off x="0" y="2627144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Rechte verbindingslijn 67"/>
              <p:cNvCxnSpPr/>
              <p:nvPr/>
            </p:nvCxnSpPr>
            <p:spPr>
              <a:xfrm>
                <a:off x="0" y="3819382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Rechte verbindingslijn 68"/>
              <p:cNvCxnSpPr/>
              <p:nvPr/>
            </p:nvCxnSpPr>
            <p:spPr>
              <a:xfrm>
                <a:off x="0" y="5011620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9" name="Groep 55"/>
            <p:cNvGrpSpPr/>
            <p:nvPr/>
          </p:nvGrpSpPr>
          <p:grpSpPr>
            <a:xfrm>
              <a:off x="464238" y="1434908"/>
              <a:ext cx="10503878" cy="4768948"/>
              <a:chOff x="464238" y="1165234"/>
              <a:chExt cx="10503878" cy="5575568"/>
            </a:xfrm>
          </p:grpSpPr>
          <p:cxnSp>
            <p:nvCxnSpPr>
              <p:cNvPr id="120" name="Rechte verbindingslijn 56"/>
              <p:cNvCxnSpPr/>
              <p:nvPr/>
            </p:nvCxnSpPr>
            <p:spPr>
              <a:xfrm rot="16200000">
                <a:off x="-232354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Rechte verbindingslijn 57"/>
              <p:cNvCxnSpPr/>
              <p:nvPr/>
            </p:nvCxnSpPr>
            <p:spPr>
              <a:xfrm rot="16200000">
                <a:off x="6679778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Rechte verbindingslijn 58"/>
              <p:cNvCxnSpPr/>
              <p:nvPr/>
            </p:nvCxnSpPr>
            <p:spPr>
              <a:xfrm rot="16200000">
                <a:off x="5179224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Rechte verbindingslijn 59"/>
              <p:cNvCxnSpPr/>
              <p:nvPr/>
            </p:nvCxnSpPr>
            <p:spPr>
              <a:xfrm rot="16200000">
                <a:off x="217811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Rechte verbindingslijn 60"/>
              <p:cNvCxnSpPr/>
              <p:nvPr/>
            </p:nvCxnSpPr>
            <p:spPr>
              <a:xfrm rot="16200000">
                <a:off x="67756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61"/>
              <p:cNvCxnSpPr/>
              <p:nvPr/>
            </p:nvCxnSpPr>
            <p:spPr>
              <a:xfrm rot="16200000">
                <a:off x="3678670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Rechte verbindingslijn 62"/>
              <p:cNvCxnSpPr/>
              <p:nvPr/>
            </p:nvCxnSpPr>
            <p:spPr>
              <a:xfrm rot="16200000">
                <a:off x="818033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Rechte verbindingslijn 63"/>
              <p:cNvCxnSpPr/>
              <p:nvPr/>
            </p:nvCxnSpPr>
            <p:spPr>
              <a:xfrm rot="16200000">
                <a:off x="-82299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60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286"/>
                </a:solidFill>
              </a:rPr>
              <a:t>Icons</a:t>
            </a:r>
          </a:p>
        </p:txBody>
      </p:sp>
      <p:sp>
        <p:nvSpPr>
          <p:cNvPr id="6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5" name="Straight Connector 2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Straight Connector 2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54650077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pagina - 100%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4"/>
          <p:cNvSpPr/>
          <p:nvPr userDrawn="1"/>
        </p:nvSpPr>
        <p:spPr>
          <a:xfrm>
            <a:off x="0" y="4047711"/>
            <a:ext cx="9144000" cy="10957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23" hasCustomPrompt="1"/>
          </p:nvPr>
        </p:nvSpPr>
        <p:spPr>
          <a:xfrm>
            <a:off x="0" y="2"/>
            <a:ext cx="9144000" cy="514349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 dirty="0"/>
              <a:t> </a:t>
            </a:r>
            <a:endParaRPr lang="en-GB" dirty="0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sz="quarter" idx="21" hasCustomPrompt="1"/>
          </p:nvPr>
        </p:nvSpPr>
        <p:spPr>
          <a:xfrm>
            <a:off x="3715796" y="805072"/>
            <a:ext cx="1712411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16" name="Tijdelijke aanduiding voor afbeelding 2"/>
          <p:cNvSpPr>
            <a:spLocks noGrp="1"/>
          </p:cNvSpPr>
          <p:nvPr>
            <p:ph type="pic" sz="quarter" idx="22" hasCustomPrompt="1"/>
          </p:nvPr>
        </p:nvSpPr>
        <p:spPr>
          <a:xfrm>
            <a:off x="3738542" y="3448585"/>
            <a:ext cx="1666917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17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8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9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20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337183921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16" grpId="0" build="p"/>
      <p:bldP spid="17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0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37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32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31.xml"/><Relationship Id="rId28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31" Type="http://schemas.openxmlformats.org/officeDocument/2006/relationships/slideLayout" Target="../slideLayouts/slideLayout39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slideLayout" Target="../slideLayouts/slideLayout35.xml"/><Relationship Id="rId30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6223" y="217057"/>
            <a:ext cx="6815919" cy="413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624" rIns="73249" bIns="3662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KLIK OM HET OPMAAKPROFIEL TE BEWERKEN</a:t>
            </a:r>
          </a:p>
        </p:txBody>
      </p:sp>
      <p:sp>
        <p:nvSpPr>
          <p:cNvPr id="2663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75820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75" r:id="rId1"/>
    <p:sldLayoutId id="2147483694" r:id="rId2"/>
    <p:sldLayoutId id="2147483696" r:id="rId3"/>
    <p:sldLayoutId id="2147483774" r:id="rId4"/>
    <p:sldLayoutId id="2147483699" r:id="rId5"/>
    <p:sldLayoutId id="2147483757" r:id="rId6"/>
    <p:sldLayoutId id="2147483755" r:id="rId7"/>
    <p:sldLayoutId id="2147483756" r:id="rId8"/>
  </p:sldLayoutIdLst>
  <p:transition spd="slow">
    <p:push dir="u"/>
  </p:transition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85951" y="277268"/>
            <a:ext cx="7800975" cy="3155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71513" y="1264443"/>
            <a:ext cx="7800975" cy="33682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71514" y="4967439"/>
            <a:ext cx="2014537" cy="135731"/>
          </a:xfrm>
          <a:prstGeom prst="rect">
            <a:avLst/>
          </a:prstGeom>
        </p:spPr>
        <p:txBody>
          <a:bodyPr vert="horz" lIns="68579" tIns="34289" rIns="68579" bIns="34289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pPr defTabSz="685783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028950" y="4967439"/>
            <a:ext cx="3086100" cy="135731"/>
          </a:xfrm>
          <a:prstGeom prst="rect">
            <a:avLst/>
          </a:prstGeom>
        </p:spPr>
        <p:txBody>
          <a:bodyPr vert="horz" lIns="68579" tIns="34289" rIns="68579" bIns="34289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pPr defTabSz="685783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 txBox="1">
            <a:spLocks noChangeArrowheads="1"/>
          </p:cNvSpPr>
          <p:nvPr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678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73" r:id="rId5"/>
    <p:sldLayoutId id="2147483776" r:id="rId6"/>
    <p:sldLayoutId id="2147483771" r:id="rId7"/>
    <p:sldLayoutId id="2147483770" r:id="rId8"/>
    <p:sldLayoutId id="2147483769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80" r:id="rId20"/>
    <p:sldLayoutId id="2147483715" r:id="rId21"/>
    <p:sldLayoutId id="2147483721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79" r:id="rId28"/>
    <p:sldLayoutId id="2147483722" r:id="rId29"/>
    <p:sldLayoutId id="2147483723" r:id="rId30"/>
    <p:sldLayoutId id="2147483732" r:id="rId31"/>
  </p:sldLayoutIdLst>
  <p:transition spd="slow">
    <p:push dir="u"/>
  </p:transition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9315" indent="-289315" algn="l" defTabSz="685783" rtl="0" eaLnBrk="1" latinLnBrk="0" hangingPunct="1">
        <a:lnSpc>
          <a:spcPct val="100000"/>
        </a:lnSpc>
        <a:spcBef>
          <a:spcPts val="750"/>
        </a:spcBef>
        <a:buClr>
          <a:schemeClr val="tx2"/>
        </a:buClr>
        <a:buSzPct val="150000"/>
        <a:buFont typeface="Arial" panose="020B0604020202020204" pitchFamily="34" charset="0"/>
        <a:buChar char="•"/>
        <a:tabLst>
          <a:tab pos="272648" algn="l"/>
        </a:tabLst>
        <a:defRPr lang="nl-NL" sz="1200" kern="1200" dirty="0" smtClean="0">
          <a:solidFill>
            <a:schemeClr val="bg2"/>
          </a:solidFill>
          <a:latin typeface="+mn-lt"/>
          <a:ea typeface="+mn-ea"/>
          <a:cs typeface="+mn-cs"/>
        </a:defRPr>
      </a:lvl1pPr>
      <a:lvl2pPr marL="561961" indent="-289315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200" kern="1200">
          <a:solidFill>
            <a:schemeClr val="bg2"/>
          </a:solidFill>
          <a:latin typeface="+mn-lt"/>
          <a:ea typeface="+mn-ea"/>
          <a:cs typeface="+mn-cs"/>
        </a:defRPr>
      </a:lvl2pPr>
      <a:lvl3pPr marL="867944" indent="-305984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Arial" panose="020B0604020202020204" pitchFamily="34" charset="0"/>
        <a:buChar char="+"/>
        <a:defRPr sz="1200" kern="1200">
          <a:solidFill>
            <a:schemeClr val="bg2"/>
          </a:solidFill>
          <a:latin typeface="+mn-lt"/>
          <a:ea typeface="+mn-ea"/>
          <a:cs typeface="+mn-cs"/>
        </a:defRPr>
      </a:lvl3pPr>
      <a:lvl4pPr marL="1148925" indent="-289315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Courier New" panose="02070309020205020404" pitchFamily="49" charset="0"/>
        <a:buChar char="o"/>
        <a:defRPr sz="1200" kern="1200">
          <a:solidFill>
            <a:schemeClr val="bg2"/>
          </a:solidFill>
          <a:latin typeface="+mn-lt"/>
          <a:ea typeface="+mn-ea"/>
          <a:cs typeface="+mn-cs"/>
        </a:defRPr>
      </a:lvl4pPr>
      <a:lvl5pPr marL="0" indent="0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15000"/>
        <a:buFont typeface="Arial" panose="020B0604020202020204" pitchFamily="34" charset="0"/>
        <a:buNone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1100" b="0" i="1" kern="1200">
          <a:solidFill>
            <a:schemeClr val="bg2"/>
          </a:solidFill>
          <a:latin typeface="+mn-lt"/>
          <a:ea typeface="+mn-ea"/>
          <a:cs typeface="+mn-cs"/>
        </a:defRPr>
      </a:lvl6pPr>
      <a:lvl7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1200" b="1" i="0" kern="1200">
          <a:solidFill>
            <a:schemeClr val="bg2"/>
          </a:solidFill>
          <a:latin typeface="+mn-lt"/>
          <a:ea typeface="+mn-ea"/>
          <a:cs typeface="+mn-cs"/>
        </a:defRPr>
      </a:lvl7pPr>
      <a:lvl8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900" i="0" u="none" kern="1200">
          <a:solidFill>
            <a:schemeClr val="tx2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makeameme.org/meme/memory-leaks-memory-8f1cc7495e" TargetMode="External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3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7.jpeg"/><Relationship Id="rId7" Type="http://schemas.openxmlformats.org/officeDocument/2006/relationships/image" Target="../media/image21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0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pngimg.com/download/50063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8.xml"/><Relationship Id="rId4" Type="http://schemas.openxmlformats.org/officeDocument/2006/relationships/hyperlink" Target="https://creativecommons.org/licenses/by-nc/3.0/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stockphoto.com/photo/woman-working-on-vacation-gm1133651422-300958149" TargetMode="External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3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0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en/software-testing-service-762486/" TargetMode="External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2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32.sv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32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32.sv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2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2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32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2.sv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2.sv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2.sv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32.sv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2.sv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illia-lebid" TargetMode="External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35.svg"/><Relationship Id="rId4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950955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44A908F-135C-CC5F-2138-D9D9F0A77857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02792934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Accessibility tes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B4A89D1-A215-07D7-34EE-8425E2E6724D}"/>
              </a:ext>
            </a:extLst>
          </p:cNvPr>
          <p:cNvSpPr txBox="1"/>
          <p:nvPr/>
        </p:nvSpPr>
        <p:spPr>
          <a:xfrm>
            <a:off x="3851920" y="2387084"/>
            <a:ext cx="1236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L"/>
              <a:t>Loading…</a:t>
            </a:r>
          </a:p>
        </p:txBody>
      </p:sp>
    </p:spTree>
    <p:extLst>
      <p:ext uri="{BB962C8B-B14F-4D97-AF65-F5344CB8AC3E}">
        <p14:creationId xmlns:p14="http://schemas.microsoft.com/office/powerpoint/2010/main" val="1025925415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Performance tes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B4A89D1-A215-07D7-34EE-8425E2E6724D}"/>
              </a:ext>
            </a:extLst>
          </p:cNvPr>
          <p:cNvSpPr txBox="1"/>
          <p:nvPr/>
        </p:nvSpPr>
        <p:spPr>
          <a:xfrm>
            <a:off x="3851920" y="2387084"/>
            <a:ext cx="1236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L"/>
              <a:t>Loading…</a:t>
            </a:r>
          </a:p>
        </p:txBody>
      </p:sp>
    </p:spTree>
    <p:extLst>
      <p:ext uri="{BB962C8B-B14F-4D97-AF65-F5344CB8AC3E}">
        <p14:creationId xmlns:p14="http://schemas.microsoft.com/office/powerpoint/2010/main" val="582660974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Mutation tes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388BED-7EA8-491D-3CE1-44A208DF189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201"/>
          <a:stretch/>
        </p:blipFill>
        <p:spPr>
          <a:xfrm>
            <a:off x="1547521" y="627534"/>
            <a:ext cx="6048957" cy="451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949314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Memory leakage tests</a:t>
            </a:r>
          </a:p>
        </p:txBody>
      </p:sp>
      <p:pic>
        <p:nvPicPr>
          <p:cNvPr id="13" name="Picture 12" descr="A toy story character next to another toy&#10;&#10;Description automatically generated">
            <a:extLst>
              <a:ext uri="{FF2B5EF4-FFF2-40B4-BE49-F238E27FC236}">
                <a16:creationId xmlns:a16="http://schemas.microsoft.com/office/drawing/2014/main" id="{C4E46DC0-E105-B529-12C8-3BA1F3A92B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091022" y="1015159"/>
            <a:ext cx="6961956" cy="3790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127486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Snapshot tests</a:t>
            </a:r>
          </a:p>
        </p:txBody>
      </p:sp>
      <p:pic>
        <p:nvPicPr>
          <p:cNvPr id="1026" name="Picture 2" descr="SnapDragon® - New York Apple Association">
            <a:extLst>
              <a:ext uri="{FF2B5EF4-FFF2-40B4-BE49-F238E27FC236}">
                <a16:creationId xmlns:a16="http://schemas.microsoft.com/office/drawing/2014/main" id="{87F39CBD-DBBE-B1E7-1779-9D6113066D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138" y="820658"/>
            <a:ext cx="2583243" cy="2033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napDragon® - New York Apple Association">
            <a:extLst>
              <a:ext uri="{FF2B5EF4-FFF2-40B4-BE49-F238E27FC236}">
                <a16:creationId xmlns:a16="http://schemas.microsoft.com/office/drawing/2014/main" id="{9E6D2438-0613-517C-83AC-CD76E07EBA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653" y="3003798"/>
            <a:ext cx="2718214" cy="2139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Apple premium imported – Subzfresh">
            <a:extLst>
              <a:ext uri="{FF2B5EF4-FFF2-40B4-BE49-F238E27FC236}">
                <a16:creationId xmlns:a16="http://schemas.microsoft.com/office/drawing/2014/main" id="{C07B8988-273C-5985-6D2C-238EFC2FC3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890" y="714413"/>
            <a:ext cx="2135740" cy="2139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phic 8" descr="Tick with solid fill">
            <a:extLst>
              <a:ext uri="{FF2B5EF4-FFF2-40B4-BE49-F238E27FC236}">
                <a16:creationId xmlns:a16="http://schemas.microsoft.com/office/drawing/2014/main" id="{318DC722-ABA6-57D7-6928-06A8DB7B4F6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78696" y="1657350"/>
            <a:ext cx="914400" cy="914400"/>
          </a:xfrm>
          <a:prstGeom prst="rect">
            <a:avLst/>
          </a:prstGeom>
        </p:spPr>
      </p:pic>
      <p:pic>
        <p:nvPicPr>
          <p:cNvPr id="10" name="Graphic 9" descr="Tick with solid fill">
            <a:extLst>
              <a:ext uri="{FF2B5EF4-FFF2-40B4-BE49-F238E27FC236}">
                <a16:creationId xmlns:a16="http://schemas.microsoft.com/office/drawing/2014/main" id="{21A514C9-0AD9-76A3-BEC9-471FD4B3F84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78696" y="3840490"/>
            <a:ext cx="914400" cy="914400"/>
          </a:xfrm>
          <a:prstGeom prst="rect">
            <a:avLst/>
          </a:prstGeom>
        </p:spPr>
      </p:pic>
      <p:pic>
        <p:nvPicPr>
          <p:cNvPr id="12" name="Graphic 11" descr="Close with solid fill">
            <a:extLst>
              <a:ext uri="{FF2B5EF4-FFF2-40B4-BE49-F238E27FC236}">
                <a16:creationId xmlns:a16="http://schemas.microsoft.com/office/drawing/2014/main" id="{A439DC12-72B5-ABEC-B6A4-E3B73331F6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41976" y="1657350"/>
            <a:ext cx="914400" cy="914400"/>
          </a:xfrm>
          <a:prstGeom prst="rect">
            <a:avLst/>
          </a:prstGeom>
        </p:spPr>
      </p:pic>
      <p:pic>
        <p:nvPicPr>
          <p:cNvPr id="1034" name="Picture 10" descr="Granny Smith (Green) Apple - fruityland">
            <a:extLst>
              <a:ext uri="{FF2B5EF4-FFF2-40B4-BE49-F238E27FC236}">
                <a16:creationId xmlns:a16="http://schemas.microsoft.com/office/drawing/2014/main" id="{E3093CD7-CE70-7822-6EFB-17FAFEFD78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3445" y="2715767"/>
            <a:ext cx="2581154" cy="229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phic 13" descr="Close with solid fill">
            <a:extLst>
              <a:ext uri="{FF2B5EF4-FFF2-40B4-BE49-F238E27FC236}">
                <a16:creationId xmlns:a16="http://schemas.microsoft.com/office/drawing/2014/main" id="{5FC26E39-837B-9C45-9907-5B895B2C91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41976" y="384049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391674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Security tests</a:t>
            </a:r>
          </a:p>
        </p:txBody>
      </p:sp>
      <p:pic>
        <p:nvPicPr>
          <p:cNvPr id="5" name="Picture 4" descr="A person wearing a black mask holding a white sign&#10;&#10;Description automatically generated">
            <a:extLst>
              <a:ext uri="{FF2B5EF4-FFF2-40B4-BE49-F238E27FC236}">
                <a16:creationId xmlns:a16="http://schemas.microsoft.com/office/drawing/2014/main" id="{E5E7859E-BE9A-7B25-BE59-D7781EFDBE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827584" y="787865"/>
            <a:ext cx="6984776" cy="435563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8838204-4A28-F6F9-1C6E-0CC78D210441}"/>
              </a:ext>
            </a:extLst>
          </p:cNvPr>
          <p:cNvSpPr txBox="1"/>
          <p:nvPr/>
        </p:nvSpPr>
        <p:spPr>
          <a:xfrm>
            <a:off x="1016797" y="8210627"/>
            <a:ext cx="7772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900">
                <a:hlinkClick r:id="rId3" tooltip="https://pngimg.com/download/50063"/>
              </a:rPr>
              <a:t>This Photo</a:t>
            </a:r>
            <a:r>
              <a:rPr lang="en-NL" sz="900"/>
              <a:t> by Unknown Author is licensed under </a:t>
            </a:r>
            <a:r>
              <a:rPr lang="en-NL" sz="900">
                <a:hlinkClick r:id="rId4" tooltip="https://creativecommons.org/licenses/by-nc/3.0/"/>
              </a:rPr>
              <a:t>CC BY-NC</a:t>
            </a:r>
            <a:endParaRPr lang="en-NL" sz="900"/>
          </a:p>
        </p:txBody>
      </p:sp>
    </p:spTree>
    <p:extLst>
      <p:ext uri="{BB962C8B-B14F-4D97-AF65-F5344CB8AC3E}">
        <p14:creationId xmlns:p14="http://schemas.microsoft.com/office/powerpoint/2010/main" val="2954413155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/>
              <a:t>Code quality tests</a:t>
            </a:r>
          </a:p>
        </p:txBody>
      </p:sp>
      <p:pic>
        <p:nvPicPr>
          <p:cNvPr id="7" name="Picture 6" descr="A person sitting in a chair with a computer&#10;&#10;Description automatically generated">
            <a:extLst>
              <a:ext uri="{FF2B5EF4-FFF2-40B4-BE49-F238E27FC236}">
                <a16:creationId xmlns:a16="http://schemas.microsoft.com/office/drawing/2014/main" id="{7A6F3E4A-A636-9097-432A-4831EF93AE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655676" y="921375"/>
            <a:ext cx="5832648" cy="3872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949578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entagon 2">
            <a:extLst>
              <a:ext uri="{FF2B5EF4-FFF2-40B4-BE49-F238E27FC236}">
                <a16:creationId xmlns:a16="http://schemas.microsoft.com/office/drawing/2014/main" id="{B0C7F321-497F-AEA0-D6BF-26B6AFC1DC32}"/>
              </a:ext>
            </a:extLst>
          </p:cNvPr>
          <p:cNvSpPr/>
          <p:nvPr/>
        </p:nvSpPr>
        <p:spPr>
          <a:xfrm>
            <a:off x="359002" y="799669"/>
            <a:ext cx="3600000" cy="576064"/>
          </a:xfrm>
          <a:prstGeom prst="homePlate">
            <a:avLst/>
          </a:prstGeom>
          <a:solidFill>
            <a:srgbClr val="FF7E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Unit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All at once</a:t>
            </a:r>
          </a:p>
        </p:txBody>
      </p:sp>
      <p:sp>
        <p:nvSpPr>
          <p:cNvPr id="49" name="Freeform 223"/>
          <p:cNvSpPr>
            <a:spLocks noEditPoints="1"/>
          </p:cNvSpPr>
          <p:nvPr/>
        </p:nvSpPr>
        <p:spPr bwMode="auto">
          <a:xfrm>
            <a:off x="6659899" y="1552626"/>
            <a:ext cx="806991" cy="869920"/>
          </a:xfrm>
          <a:custGeom>
            <a:avLst/>
            <a:gdLst>
              <a:gd name="T0" fmla="*/ 0 w 41"/>
              <a:gd name="T1" fmla="*/ 20 h 41"/>
              <a:gd name="T2" fmla="*/ 28 w 41"/>
              <a:gd name="T3" fmla="*/ 14 h 41"/>
              <a:gd name="T4" fmla="*/ 30 w 41"/>
              <a:gd name="T5" fmla="*/ 13 h 41"/>
              <a:gd name="T6" fmla="*/ 33 w 41"/>
              <a:gd name="T7" fmla="*/ 12 h 41"/>
              <a:gd name="T8" fmla="*/ 32 w 41"/>
              <a:gd name="T9" fmla="*/ 11 h 41"/>
              <a:gd name="T10" fmla="*/ 30 w 41"/>
              <a:gd name="T11" fmla="*/ 9 h 41"/>
              <a:gd name="T12" fmla="*/ 29 w 41"/>
              <a:gd name="T13" fmla="*/ 10 h 41"/>
              <a:gd name="T14" fmla="*/ 28 w 41"/>
              <a:gd name="T15" fmla="*/ 9 h 41"/>
              <a:gd name="T16" fmla="*/ 25 w 41"/>
              <a:gd name="T17" fmla="*/ 8 h 41"/>
              <a:gd name="T18" fmla="*/ 25 w 41"/>
              <a:gd name="T19" fmla="*/ 10 h 41"/>
              <a:gd name="T20" fmla="*/ 24 w 41"/>
              <a:gd name="T21" fmla="*/ 13 h 41"/>
              <a:gd name="T22" fmla="*/ 22 w 41"/>
              <a:gd name="T23" fmla="*/ 11 h 41"/>
              <a:gd name="T24" fmla="*/ 19 w 41"/>
              <a:gd name="T25" fmla="*/ 9 h 41"/>
              <a:gd name="T26" fmla="*/ 20 w 41"/>
              <a:gd name="T27" fmla="*/ 7 h 41"/>
              <a:gd name="T28" fmla="*/ 23 w 41"/>
              <a:gd name="T29" fmla="*/ 6 h 41"/>
              <a:gd name="T30" fmla="*/ 22 w 41"/>
              <a:gd name="T31" fmla="*/ 5 h 41"/>
              <a:gd name="T32" fmla="*/ 20 w 41"/>
              <a:gd name="T33" fmla="*/ 5 h 41"/>
              <a:gd name="T34" fmla="*/ 18 w 41"/>
              <a:gd name="T35" fmla="*/ 4 h 41"/>
              <a:gd name="T36" fmla="*/ 19 w 41"/>
              <a:gd name="T37" fmla="*/ 5 h 41"/>
              <a:gd name="T38" fmla="*/ 17 w 41"/>
              <a:gd name="T39" fmla="*/ 5 h 41"/>
              <a:gd name="T40" fmla="*/ 15 w 41"/>
              <a:gd name="T41" fmla="*/ 4 h 41"/>
              <a:gd name="T42" fmla="*/ 14 w 41"/>
              <a:gd name="T43" fmla="*/ 5 h 41"/>
              <a:gd name="T44" fmla="*/ 16 w 41"/>
              <a:gd name="T45" fmla="*/ 5 h 41"/>
              <a:gd name="T46" fmla="*/ 14 w 41"/>
              <a:gd name="T47" fmla="*/ 6 h 41"/>
              <a:gd name="T48" fmla="*/ 6 w 41"/>
              <a:gd name="T49" fmla="*/ 11 h 41"/>
              <a:gd name="T50" fmla="*/ 7 w 41"/>
              <a:gd name="T51" fmla="*/ 13 h 41"/>
              <a:gd name="T52" fmla="*/ 9 w 41"/>
              <a:gd name="T53" fmla="*/ 14 h 41"/>
              <a:gd name="T54" fmla="*/ 8 w 41"/>
              <a:gd name="T55" fmla="*/ 17 h 41"/>
              <a:gd name="T56" fmla="*/ 10 w 41"/>
              <a:gd name="T57" fmla="*/ 20 h 41"/>
              <a:gd name="T58" fmla="*/ 12 w 41"/>
              <a:gd name="T59" fmla="*/ 23 h 41"/>
              <a:gd name="T60" fmla="*/ 13 w 41"/>
              <a:gd name="T61" fmla="*/ 24 h 41"/>
              <a:gd name="T62" fmla="*/ 12 w 41"/>
              <a:gd name="T63" fmla="*/ 21 h 41"/>
              <a:gd name="T64" fmla="*/ 14 w 41"/>
              <a:gd name="T65" fmla="*/ 24 h 41"/>
              <a:gd name="T66" fmla="*/ 16 w 41"/>
              <a:gd name="T67" fmla="*/ 27 h 41"/>
              <a:gd name="T68" fmla="*/ 20 w 41"/>
              <a:gd name="T69" fmla="*/ 29 h 41"/>
              <a:gd name="T70" fmla="*/ 23 w 41"/>
              <a:gd name="T71" fmla="*/ 31 h 41"/>
              <a:gd name="T72" fmla="*/ 24 w 41"/>
              <a:gd name="T73" fmla="*/ 31 h 41"/>
              <a:gd name="T74" fmla="*/ 23 w 41"/>
              <a:gd name="T75" fmla="*/ 29 h 41"/>
              <a:gd name="T76" fmla="*/ 21 w 41"/>
              <a:gd name="T77" fmla="*/ 28 h 41"/>
              <a:gd name="T78" fmla="*/ 21 w 41"/>
              <a:gd name="T79" fmla="*/ 25 h 41"/>
              <a:gd name="T80" fmla="*/ 19 w 41"/>
              <a:gd name="T81" fmla="*/ 27 h 41"/>
              <a:gd name="T82" fmla="*/ 18 w 41"/>
              <a:gd name="T83" fmla="*/ 22 h 41"/>
              <a:gd name="T84" fmla="*/ 20 w 41"/>
              <a:gd name="T85" fmla="*/ 22 h 41"/>
              <a:gd name="T86" fmla="*/ 21 w 41"/>
              <a:gd name="T87" fmla="*/ 21 h 41"/>
              <a:gd name="T88" fmla="*/ 23 w 41"/>
              <a:gd name="T89" fmla="*/ 22 h 41"/>
              <a:gd name="T90" fmla="*/ 24 w 41"/>
              <a:gd name="T91" fmla="*/ 22 h 41"/>
              <a:gd name="T92" fmla="*/ 25 w 41"/>
              <a:gd name="T93" fmla="*/ 19 h 41"/>
              <a:gd name="T94" fmla="*/ 25 w 41"/>
              <a:gd name="T95" fmla="*/ 18 h 41"/>
              <a:gd name="T96" fmla="*/ 27 w 41"/>
              <a:gd name="T97" fmla="*/ 17 h 41"/>
              <a:gd name="T98" fmla="*/ 29 w 41"/>
              <a:gd name="T99" fmla="*/ 15 h 41"/>
              <a:gd name="T100" fmla="*/ 30 w 41"/>
              <a:gd name="T101" fmla="*/ 14 h 41"/>
              <a:gd name="T102" fmla="*/ 28 w 41"/>
              <a:gd name="T103" fmla="*/ 14 h 41"/>
              <a:gd name="T104" fmla="*/ 32 w 41"/>
              <a:gd name="T105" fmla="*/ 32 h 41"/>
              <a:gd name="T106" fmla="*/ 29 w 41"/>
              <a:gd name="T107" fmla="*/ 31 h 41"/>
              <a:gd name="T108" fmla="*/ 27 w 41"/>
              <a:gd name="T109" fmla="*/ 31 h 41"/>
              <a:gd name="T110" fmla="*/ 26 w 41"/>
              <a:gd name="T111" fmla="*/ 30 h 41"/>
              <a:gd name="T112" fmla="*/ 25 w 41"/>
              <a:gd name="T113" fmla="*/ 33 h 41"/>
              <a:gd name="T114" fmla="*/ 24 w 41"/>
              <a:gd name="T115" fmla="*/ 36 h 41"/>
              <a:gd name="T116" fmla="*/ 33 w 41"/>
              <a:gd name="T117" fmla="*/ 32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1" h="41">
                <a:moveTo>
                  <a:pt x="41" y="20"/>
                </a:moveTo>
                <a:cubicBezTo>
                  <a:pt x="41" y="32"/>
                  <a:pt x="32" y="41"/>
                  <a:pt x="21" y="41"/>
                </a:cubicBezTo>
                <a:cubicBezTo>
                  <a:pt x="9" y="41"/>
                  <a:pt x="0" y="32"/>
                  <a:pt x="0" y="20"/>
                </a:cubicBezTo>
                <a:cubicBezTo>
                  <a:pt x="0" y="9"/>
                  <a:pt x="9" y="0"/>
                  <a:pt x="21" y="0"/>
                </a:cubicBezTo>
                <a:cubicBezTo>
                  <a:pt x="32" y="0"/>
                  <a:pt x="41" y="9"/>
                  <a:pt x="41" y="20"/>
                </a:cubicBezTo>
                <a:close/>
                <a:moveTo>
                  <a:pt x="28" y="14"/>
                </a:moveTo>
                <a:cubicBezTo>
                  <a:pt x="28" y="14"/>
                  <a:pt x="28" y="14"/>
                  <a:pt x="28" y="14"/>
                </a:cubicBezTo>
                <a:cubicBezTo>
                  <a:pt x="28" y="14"/>
                  <a:pt x="28" y="13"/>
                  <a:pt x="28" y="13"/>
                </a:cubicBezTo>
                <a:cubicBezTo>
                  <a:pt x="29" y="13"/>
                  <a:pt x="29" y="13"/>
                  <a:pt x="30" y="13"/>
                </a:cubicBezTo>
                <a:cubicBezTo>
                  <a:pt x="30" y="13"/>
                  <a:pt x="31" y="13"/>
                  <a:pt x="31" y="13"/>
                </a:cubicBezTo>
                <a:cubicBezTo>
                  <a:pt x="31" y="13"/>
                  <a:pt x="32" y="13"/>
                  <a:pt x="32" y="13"/>
                </a:cubicBezTo>
                <a:cubicBezTo>
                  <a:pt x="32" y="12"/>
                  <a:pt x="33" y="13"/>
                  <a:pt x="33" y="12"/>
                </a:cubicBezTo>
                <a:cubicBezTo>
                  <a:pt x="33" y="12"/>
                  <a:pt x="33" y="12"/>
                  <a:pt x="33" y="12"/>
                </a:cubicBezTo>
                <a:cubicBezTo>
                  <a:pt x="32" y="12"/>
                  <a:pt x="32" y="11"/>
                  <a:pt x="32" y="11"/>
                </a:cubicBezTo>
                <a:cubicBezTo>
                  <a:pt x="32" y="11"/>
                  <a:pt x="32" y="11"/>
                  <a:pt x="32" y="11"/>
                </a:cubicBezTo>
                <a:cubicBezTo>
                  <a:pt x="32" y="11"/>
                  <a:pt x="31" y="11"/>
                  <a:pt x="31" y="11"/>
                </a:cubicBezTo>
                <a:cubicBezTo>
                  <a:pt x="31" y="11"/>
                  <a:pt x="31" y="10"/>
                  <a:pt x="31" y="10"/>
                </a:cubicBezTo>
                <a:cubicBezTo>
                  <a:pt x="30" y="10"/>
                  <a:pt x="30" y="10"/>
                  <a:pt x="30" y="9"/>
                </a:cubicBezTo>
                <a:cubicBezTo>
                  <a:pt x="30" y="9"/>
                  <a:pt x="30" y="9"/>
                  <a:pt x="30" y="9"/>
                </a:cubicBezTo>
                <a:cubicBezTo>
                  <a:pt x="29" y="9"/>
                  <a:pt x="29" y="9"/>
                  <a:pt x="29" y="9"/>
                </a:cubicBezTo>
                <a:cubicBezTo>
                  <a:pt x="29" y="9"/>
                  <a:pt x="29" y="9"/>
                  <a:pt x="29" y="10"/>
                </a:cubicBezTo>
                <a:cubicBezTo>
                  <a:pt x="28" y="10"/>
                  <a:pt x="28" y="10"/>
                  <a:pt x="28" y="10"/>
                </a:cubicBezTo>
                <a:cubicBezTo>
                  <a:pt x="29" y="10"/>
                  <a:pt x="28" y="9"/>
                  <a:pt x="28" y="9"/>
                </a:cubicBezTo>
                <a:cubicBezTo>
                  <a:pt x="28" y="9"/>
                  <a:pt x="28" y="9"/>
                  <a:pt x="28" y="9"/>
                </a:cubicBezTo>
                <a:cubicBezTo>
                  <a:pt x="28" y="9"/>
                  <a:pt x="28" y="9"/>
                  <a:pt x="28" y="9"/>
                </a:cubicBezTo>
                <a:cubicBezTo>
                  <a:pt x="28" y="8"/>
                  <a:pt x="27" y="8"/>
                  <a:pt x="27" y="8"/>
                </a:cubicBezTo>
                <a:cubicBezTo>
                  <a:pt x="27" y="8"/>
                  <a:pt x="25" y="8"/>
                  <a:pt x="25" y="8"/>
                </a:cubicBezTo>
                <a:cubicBezTo>
                  <a:pt x="25" y="8"/>
                  <a:pt x="25" y="8"/>
                  <a:pt x="25" y="9"/>
                </a:cubicBezTo>
                <a:cubicBezTo>
                  <a:pt x="25" y="9"/>
                  <a:pt x="25" y="9"/>
                  <a:pt x="25" y="9"/>
                </a:cubicBezTo>
                <a:cubicBezTo>
                  <a:pt x="25" y="10"/>
                  <a:pt x="26" y="10"/>
                  <a:pt x="25" y="10"/>
                </a:cubicBezTo>
                <a:cubicBezTo>
                  <a:pt x="25" y="11"/>
                  <a:pt x="25" y="11"/>
                  <a:pt x="24" y="11"/>
                </a:cubicBezTo>
                <a:cubicBezTo>
                  <a:pt x="24" y="11"/>
                  <a:pt x="25" y="12"/>
                  <a:pt x="25" y="12"/>
                </a:cubicBezTo>
                <a:cubicBezTo>
                  <a:pt x="25" y="12"/>
                  <a:pt x="24" y="13"/>
                  <a:pt x="24" y="13"/>
                </a:cubicBezTo>
                <a:cubicBezTo>
                  <a:pt x="24" y="13"/>
                  <a:pt x="23" y="12"/>
                  <a:pt x="23" y="12"/>
                </a:cubicBezTo>
                <a:cubicBezTo>
                  <a:pt x="23" y="11"/>
                  <a:pt x="23" y="11"/>
                  <a:pt x="23" y="11"/>
                </a:cubicBezTo>
                <a:cubicBezTo>
                  <a:pt x="23" y="11"/>
                  <a:pt x="22" y="11"/>
                  <a:pt x="22" y="11"/>
                </a:cubicBezTo>
                <a:cubicBezTo>
                  <a:pt x="22" y="11"/>
                  <a:pt x="21" y="10"/>
                  <a:pt x="21" y="10"/>
                </a:cubicBezTo>
                <a:cubicBezTo>
                  <a:pt x="21" y="10"/>
                  <a:pt x="20" y="10"/>
                  <a:pt x="20" y="10"/>
                </a:cubicBezTo>
                <a:cubicBezTo>
                  <a:pt x="20" y="10"/>
                  <a:pt x="19" y="9"/>
                  <a:pt x="19" y="9"/>
                </a:cubicBezTo>
                <a:cubicBezTo>
                  <a:pt x="19" y="9"/>
                  <a:pt x="19" y="9"/>
                  <a:pt x="19" y="9"/>
                </a:cubicBezTo>
                <a:cubicBezTo>
                  <a:pt x="19" y="8"/>
                  <a:pt x="19" y="8"/>
                  <a:pt x="19" y="8"/>
                </a:cubicBezTo>
                <a:cubicBezTo>
                  <a:pt x="20" y="8"/>
                  <a:pt x="20" y="7"/>
                  <a:pt x="20" y="7"/>
                </a:cubicBezTo>
                <a:cubicBezTo>
                  <a:pt x="20" y="7"/>
                  <a:pt x="21" y="7"/>
                  <a:pt x="21" y="7"/>
                </a:cubicBezTo>
                <a:cubicBezTo>
                  <a:pt x="21" y="7"/>
                  <a:pt x="22" y="6"/>
                  <a:pt x="22" y="6"/>
                </a:cubicBezTo>
                <a:cubicBezTo>
                  <a:pt x="22" y="6"/>
                  <a:pt x="23" y="6"/>
                  <a:pt x="23" y="6"/>
                </a:cubicBezTo>
                <a:cubicBezTo>
                  <a:pt x="24" y="6"/>
                  <a:pt x="24" y="6"/>
                  <a:pt x="23" y="5"/>
                </a:cubicBezTo>
                <a:cubicBezTo>
                  <a:pt x="24" y="5"/>
                  <a:pt x="23" y="5"/>
                  <a:pt x="23" y="5"/>
                </a:cubicBezTo>
                <a:cubicBezTo>
                  <a:pt x="23" y="5"/>
                  <a:pt x="22" y="5"/>
                  <a:pt x="22" y="5"/>
                </a:cubicBezTo>
                <a:cubicBezTo>
                  <a:pt x="22" y="5"/>
                  <a:pt x="22" y="6"/>
                  <a:pt x="21" y="6"/>
                </a:cubicBezTo>
                <a:cubicBezTo>
                  <a:pt x="21" y="5"/>
                  <a:pt x="21" y="5"/>
                  <a:pt x="21" y="5"/>
                </a:cubicBezTo>
                <a:cubicBezTo>
                  <a:pt x="21" y="5"/>
                  <a:pt x="21" y="5"/>
                  <a:pt x="20" y="5"/>
                </a:cubicBezTo>
                <a:cubicBezTo>
                  <a:pt x="21" y="5"/>
                  <a:pt x="20" y="5"/>
                  <a:pt x="20" y="5"/>
                </a:cubicBezTo>
                <a:cubicBezTo>
                  <a:pt x="20" y="4"/>
                  <a:pt x="20" y="4"/>
                  <a:pt x="19" y="4"/>
                </a:cubicBezTo>
                <a:cubicBezTo>
                  <a:pt x="19" y="4"/>
                  <a:pt x="18" y="4"/>
                  <a:pt x="18" y="4"/>
                </a:cubicBezTo>
                <a:cubicBezTo>
                  <a:pt x="18" y="5"/>
                  <a:pt x="19" y="5"/>
                  <a:pt x="19" y="5"/>
                </a:cubicBezTo>
                <a:cubicBezTo>
                  <a:pt x="19" y="5"/>
                  <a:pt x="19" y="5"/>
                  <a:pt x="19" y="5"/>
                </a:cubicBezTo>
                <a:cubicBezTo>
                  <a:pt x="19" y="5"/>
                  <a:pt x="19" y="5"/>
                  <a:pt x="19" y="5"/>
                </a:cubicBezTo>
                <a:cubicBezTo>
                  <a:pt x="18" y="6"/>
                  <a:pt x="19" y="6"/>
                  <a:pt x="18" y="6"/>
                </a:cubicBezTo>
                <a:cubicBezTo>
                  <a:pt x="18" y="6"/>
                  <a:pt x="18" y="6"/>
                  <a:pt x="18" y="5"/>
                </a:cubicBezTo>
                <a:cubicBezTo>
                  <a:pt x="18" y="6"/>
                  <a:pt x="17" y="5"/>
                  <a:pt x="17" y="5"/>
                </a:cubicBezTo>
                <a:cubicBezTo>
                  <a:pt x="17" y="5"/>
                  <a:pt x="16" y="6"/>
                  <a:pt x="16" y="5"/>
                </a:cubicBezTo>
                <a:cubicBezTo>
                  <a:pt x="16" y="5"/>
                  <a:pt x="16" y="5"/>
                  <a:pt x="16" y="5"/>
                </a:cubicBezTo>
                <a:cubicBezTo>
                  <a:pt x="16" y="5"/>
                  <a:pt x="15" y="4"/>
                  <a:pt x="15" y="4"/>
                </a:cubicBezTo>
                <a:cubicBezTo>
                  <a:pt x="14" y="5"/>
                  <a:pt x="14" y="5"/>
                  <a:pt x="13" y="5"/>
                </a:cubicBezTo>
                <a:cubicBezTo>
                  <a:pt x="13" y="5"/>
                  <a:pt x="13" y="5"/>
                  <a:pt x="13" y="5"/>
                </a:cubicBezTo>
                <a:cubicBezTo>
                  <a:pt x="13" y="5"/>
                  <a:pt x="14" y="5"/>
                  <a:pt x="14" y="5"/>
                </a:cubicBezTo>
                <a:cubicBezTo>
                  <a:pt x="14" y="5"/>
                  <a:pt x="15" y="5"/>
                  <a:pt x="15" y="5"/>
                </a:cubicBezTo>
                <a:cubicBezTo>
                  <a:pt x="15" y="5"/>
                  <a:pt x="15" y="5"/>
                  <a:pt x="15" y="5"/>
                </a:cubicBezTo>
                <a:cubicBezTo>
                  <a:pt x="15" y="5"/>
                  <a:pt x="15" y="5"/>
                  <a:pt x="16" y="5"/>
                </a:cubicBezTo>
                <a:cubicBezTo>
                  <a:pt x="15" y="5"/>
                  <a:pt x="15" y="5"/>
                  <a:pt x="15" y="5"/>
                </a:cubicBezTo>
                <a:cubicBezTo>
                  <a:pt x="15" y="5"/>
                  <a:pt x="14" y="5"/>
                  <a:pt x="14" y="6"/>
                </a:cubicBezTo>
                <a:cubicBezTo>
                  <a:pt x="14" y="6"/>
                  <a:pt x="14" y="6"/>
                  <a:pt x="14" y="6"/>
                </a:cubicBezTo>
                <a:cubicBezTo>
                  <a:pt x="14" y="6"/>
                  <a:pt x="14" y="5"/>
                  <a:pt x="13" y="5"/>
                </a:cubicBezTo>
                <a:cubicBezTo>
                  <a:pt x="13" y="5"/>
                  <a:pt x="13" y="5"/>
                  <a:pt x="13" y="5"/>
                </a:cubicBezTo>
                <a:cubicBezTo>
                  <a:pt x="10" y="7"/>
                  <a:pt x="8" y="9"/>
                  <a:pt x="6" y="11"/>
                </a:cubicBezTo>
                <a:cubicBezTo>
                  <a:pt x="6" y="11"/>
                  <a:pt x="7" y="12"/>
                  <a:pt x="7" y="12"/>
                </a:cubicBezTo>
                <a:cubicBezTo>
                  <a:pt x="7" y="12"/>
                  <a:pt x="7" y="12"/>
                  <a:pt x="7" y="12"/>
                </a:cubicBezTo>
                <a:cubicBezTo>
                  <a:pt x="7" y="12"/>
                  <a:pt x="7" y="12"/>
                  <a:pt x="7" y="13"/>
                </a:cubicBezTo>
                <a:cubicBezTo>
                  <a:pt x="7" y="13"/>
                  <a:pt x="8" y="13"/>
                  <a:pt x="8" y="13"/>
                </a:cubicBezTo>
                <a:cubicBezTo>
                  <a:pt x="9" y="13"/>
                  <a:pt x="9" y="14"/>
                  <a:pt x="9" y="14"/>
                </a:cubicBezTo>
                <a:cubicBezTo>
                  <a:pt x="9" y="14"/>
                  <a:pt x="9" y="14"/>
                  <a:pt x="9" y="14"/>
                </a:cubicBezTo>
                <a:cubicBezTo>
                  <a:pt x="9" y="14"/>
                  <a:pt x="8" y="14"/>
                  <a:pt x="8" y="14"/>
                </a:cubicBezTo>
                <a:cubicBezTo>
                  <a:pt x="8" y="14"/>
                  <a:pt x="8" y="15"/>
                  <a:pt x="9" y="15"/>
                </a:cubicBezTo>
                <a:cubicBezTo>
                  <a:pt x="8" y="15"/>
                  <a:pt x="8" y="16"/>
                  <a:pt x="8" y="17"/>
                </a:cubicBezTo>
                <a:cubicBezTo>
                  <a:pt x="8" y="17"/>
                  <a:pt x="8" y="17"/>
                  <a:pt x="8" y="17"/>
                </a:cubicBezTo>
                <a:cubicBezTo>
                  <a:pt x="8" y="17"/>
                  <a:pt x="8" y="18"/>
                  <a:pt x="9" y="18"/>
                </a:cubicBezTo>
                <a:cubicBezTo>
                  <a:pt x="9" y="18"/>
                  <a:pt x="10" y="20"/>
                  <a:pt x="10" y="20"/>
                </a:cubicBezTo>
                <a:cubicBezTo>
                  <a:pt x="10" y="20"/>
                  <a:pt x="10" y="20"/>
                  <a:pt x="11" y="20"/>
                </a:cubicBezTo>
                <a:cubicBezTo>
                  <a:pt x="11" y="21"/>
                  <a:pt x="11" y="21"/>
                  <a:pt x="11" y="22"/>
                </a:cubicBezTo>
                <a:cubicBezTo>
                  <a:pt x="11" y="22"/>
                  <a:pt x="12" y="22"/>
                  <a:pt x="12" y="23"/>
                </a:cubicBezTo>
                <a:cubicBezTo>
                  <a:pt x="12" y="23"/>
                  <a:pt x="12" y="23"/>
                  <a:pt x="12" y="23"/>
                </a:cubicBezTo>
                <a:cubicBezTo>
                  <a:pt x="12" y="23"/>
                  <a:pt x="12" y="23"/>
                  <a:pt x="13" y="24"/>
                </a:cubicBezTo>
                <a:cubicBezTo>
                  <a:pt x="13" y="24"/>
                  <a:pt x="13" y="24"/>
                  <a:pt x="13" y="24"/>
                </a:cubicBezTo>
                <a:cubicBezTo>
                  <a:pt x="13" y="24"/>
                  <a:pt x="13" y="23"/>
                  <a:pt x="12" y="23"/>
                </a:cubicBezTo>
                <a:cubicBezTo>
                  <a:pt x="12" y="22"/>
                  <a:pt x="12" y="22"/>
                  <a:pt x="12" y="22"/>
                </a:cubicBezTo>
                <a:cubicBezTo>
                  <a:pt x="12" y="22"/>
                  <a:pt x="12" y="21"/>
                  <a:pt x="12" y="21"/>
                </a:cubicBezTo>
                <a:cubicBezTo>
                  <a:pt x="12" y="21"/>
                  <a:pt x="12" y="21"/>
                  <a:pt x="12" y="21"/>
                </a:cubicBezTo>
                <a:cubicBezTo>
                  <a:pt x="12" y="22"/>
                  <a:pt x="13" y="23"/>
                  <a:pt x="13" y="23"/>
                </a:cubicBezTo>
                <a:cubicBezTo>
                  <a:pt x="13" y="23"/>
                  <a:pt x="14" y="24"/>
                  <a:pt x="14" y="24"/>
                </a:cubicBezTo>
                <a:cubicBezTo>
                  <a:pt x="14" y="24"/>
                  <a:pt x="15" y="25"/>
                  <a:pt x="15" y="25"/>
                </a:cubicBezTo>
                <a:cubicBezTo>
                  <a:pt x="15" y="25"/>
                  <a:pt x="15" y="26"/>
                  <a:pt x="15" y="26"/>
                </a:cubicBezTo>
                <a:cubicBezTo>
                  <a:pt x="15" y="27"/>
                  <a:pt x="16" y="27"/>
                  <a:pt x="16" y="27"/>
                </a:cubicBezTo>
                <a:cubicBezTo>
                  <a:pt x="17" y="27"/>
                  <a:pt x="17" y="28"/>
                  <a:pt x="17" y="28"/>
                </a:cubicBezTo>
                <a:cubicBezTo>
                  <a:pt x="18" y="28"/>
                  <a:pt x="18" y="28"/>
                  <a:pt x="19" y="28"/>
                </a:cubicBezTo>
                <a:cubicBezTo>
                  <a:pt x="19" y="28"/>
                  <a:pt x="19" y="28"/>
                  <a:pt x="20" y="29"/>
                </a:cubicBezTo>
                <a:cubicBezTo>
                  <a:pt x="20" y="29"/>
                  <a:pt x="21" y="29"/>
                  <a:pt x="21" y="29"/>
                </a:cubicBezTo>
                <a:cubicBezTo>
                  <a:pt x="21" y="29"/>
                  <a:pt x="22" y="30"/>
                  <a:pt x="22" y="30"/>
                </a:cubicBezTo>
                <a:cubicBezTo>
                  <a:pt x="22" y="31"/>
                  <a:pt x="23" y="31"/>
                  <a:pt x="23" y="31"/>
                </a:cubicBezTo>
                <a:cubicBezTo>
                  <a:pt x="23" y="31"/>
                  <a:pt x="23" y="31"/>
                  <a:pt x="23" y="31"/>
                </a:cubicBezTo>
                <a:cubicBezTo>
                  <a:pt x="23" y="31"/>
                  <a:pt x="24" y="32"/>
                  <a:pt x="24" y="32"/>
                </a:cubicBezTo>
                <a:cubicBezTo>
                  <a:pt x="24" y="31"/>
                  <a:pt x="24" y="31"/>
                  <a:pt x="24" y="31"/>
                </a:cubicBezTo>
                <a:cubicBezTo>
                  <a:pt x="24" y="31"/>
                  <a:pt x="23" y="31"/>
                  <a:pt x="23" y="30"/>
                </a:cubicBezTo>
                <a:cubicBezTo>
                  <a:pt x="23" y="30"/>
                  <a:pt x="22" y="29"/>
                  <a:pt x="23" y="29"/>
                </a:cubicBezTo>
                <a:cubicBezTo>
                  <a:pt x="23" y="29"/>
                  <a:pt x="23" y="29"/>
                  <a:pt x="23" y="29"/>
                </a:cubicBezTo>
                <a:cubicBezTo>
                  <a:pt x="23" y="28"/>
                  <a:pt x="23" y="28"/>
                  <a:pt x="22" y="28"/>
                </a:cubicBezTo>
                <a:cubicBezTo>
                  <a:pt x="22" y="28"/>
                  <a:pt x="22" y="28"/>
                  <a:pt x="21" y="28"/>
                </a:cubicBezTo>
                <a:cubicBezTo>
                  <a:pt x="21" y="28"/>
                  <a:pt x="21" y="28"/>
                  <a:pt x="21" y="28"/>
                </a:cubicBezTo>
                <a:cubicBezTo>
                  <a:pt x="21" y="28"/>
                  <a:pt x="21" y="28"/>
                  <a:pt x="21" y="28"/>
                </a:cubicBezTo>
                <a:cubicBezTo>
                  <a:pt x="21" y="28"/>
                  <a:pt x="21" y="27"/>
                  <a:pt x="21" y="27"/>
                </a:cubicBezTo>
                <a:cubicBezTo>
                  <a:pt x="21" y="26"/>
                  <a:pt x="22" y="25"/>
                  <a:pt x="21" y="25"/>
                </a:cubicBezTo>
                <a:cubicBezTo>
                  <a:pt x="21" y="25"/>
                  <a:pt x="20" y="26"/>
                  <a:pt x="20" y="26"/>
                </a:cubicBezTo>
                <a:cubicBezTo>
                  <a:pt x="20" y="26"/>
                  <a:pt x="20" y="27"/>
                  <a:pt x="20" y="27"/>
                </a:cubicBezTo>
                <a:cubicBezTo>
                  <a:pt x="20" y="27"/>
                  <a:pt x="19" y="27"/>
                  <a:pt x="19" y="27"/>
                </a:cubicBezTo>
                <a:cubicBezTo>
                  <a:pt x="18" y="26"/>
                  <a:pt x="18" y="25"/>
                  <a:pt x="18" y="25"/>
                </a:cubicBezTo>
                <a:cubicBezTo>
                  <a:pt x="18" y="24"/>
                  <a:pt x="18" y="24"/>
                  <a:pt x="18" y="23"/>
                </a:cubicBezTo>
                <a:cubicBezTo>
                  <a:pt x="18" y="23"/>
                  <a:pt x="18" y="22"/>
                  <a:pt x="18" y="22"/>
                </a:cubicBezTo>
                <a:cubicBezTo>
                  <a:pt x="18" y="22"/>
                  <a:pt x="19" y="22"/>
                  <a:pt x="19" y="22"/>
                </a:cubicBezTo>
                <a:cubicBezTo>
                  <a:pt x="19" y="22"/>
                  <a:pt x="18" y="22"/>
                  <a:pt x="18" y="22"/>
                </a:cubicBezTo>
                <a:cubicBezTo>
                  <a:pt x="19" y="22"/>
                  <a:pt x="20" y="22"/>
                  <a:pt x="20" y="22"/>
                </a:cubicBezTo>
                <a:cubicBezTo>
                  <a:pt x="20" y="22"/>
                  <a:pt x="20" y="22"/>
                  <a:pt x="21" y="22"/>
                </a:cubicBezTo>
                <a:cubicBezTo>
                  <a:pt x="21" y="22"/>
                  <a:pt x="20" y="21"/>
                  <a:pt x="20" y="21"/>
                </a:cubicBezTo>
                <a:cubicBezTo>
                  <a:pt x="21" y="22"/>
                  <a:pt x="21" y="22"/>
                  <a:pt x="21" y="21"/>
                </a:cubicBezTo>
                <a:cubicBezTo>
                  <a:pt x="21" y="22"/>
                  <a:pt x="22" y="22"/>
                  <a:pt x="22" y="22"/>
                </a:cubicBezTo>
                <a:cubicBezTo>
                  <a:pt x="22" y="22"/>
                  <a:pt x="22" y="22"/>
                  <a:pt x="23" y="22"/>
                </a:cubicBezTo>
                <a:cubicBezTo>
                  <a:pt x="23" y="22"/>
                  <a:pt x="23" y="22"/>
                  <a:pt x="23" y="22"/>
                </a:cubicBezTo>
                <a:cubicBezTo>
                  <a:pt x="23" y="23"/>
                  <a:pt x="23" y="24"/>
                  <a:pt x="24" y="24"/>
                </a:cubicBezTo>
                <a:cubicBezTo>
                  <a:pt x="24" y="24"/>
                  <a:pt x="24" y="23"/>
                  <a:pt x="24" y="23"/>
                </a:cubicBezTo>
                <a:cubicBezTo>
                  <a:pt x="24" y="23"/>
                  <a:pt x="24" y="22"/>
                  <a:pt x="24" y="22"/>
                </a:cubicBezTo>
                <a:cubicBezTo>
                  <a:pt x="23" y="22"/>
                  <a:pt x="23" y="21"/>
                  <a:pt x="24" y="21"/>
                </a:cubicBezTo>
                <a:cubicBezTo>
                  <a:pt x="24" y="20"/>
                  <a:pt x="25" y="20"/>
                  <a:pt x="25" y="20"/>
                </a:cubicBezTo>
                <a:cubicBezTo>
                  <a:pt x="25" y="20"/>
                  <a:pt x="25" y="19"/>
                  <a:pt x="25" y="19"/>
                </a:cubicBezTo>
                <a:cubicBezTo>
                  <a:pt x="25" y="19"/>
                  <a:pt x="26" y="19"/>
                  <a:pt x="26" y="19"/>
                </a:cubicBezTo>
                <a:cubicBezTo>
                  <a:pt x="25" y="19"/>
                  <a:pt x="25" y="19"/>
                  <a:pt x="25" y="19"/>
                </a:cubicBezTo>
                <a:cubicBezTo>
                  <a:pt x="25" y="18"/>
                  <a:pt x="25" y="18"/>
                  <a:pt x="25" y="18"/>
                </a:cubicBezTo>
                <a:cubicBezTo>
                  <a:pt x="25" y="18"/>
                  <a:pt x="25" y="18"/>
                  <a:pt x="26" y="18"/>
                </a:cubicBezTo>
                <a:cubicBezTo>
                  <a:pt x="26" y="18"/>
                  <a:pt x="26" y="18"/>
                  <a:pt x="26" y="17"/>
                </a:cubicBezTo>
                <a:cubicBezTo>
                  <a:pt x="26" y="17"/>
                  <a:pt x="27" y="17"/>
                  <a:pt x="27" y="17"/>
                </a:cubicBezTo>
                <a:cubicBezTo>
                  <a:pt x="28" y="17"/>
                  <a:pt x="27" y="16"/>
                  <a:pt x="28" y="16"/>
                </a:cubicBezTo>
                <a:cubicBezTo>
                  <a:pt x="28" y="16"/>
                  <a:pt x="28" y="16"/>
                  <a:pt x="28" y="16"/>
                </a:cubicBezTo>
                <a:cubicBezTo>
                  <a:pt x="28" y="16"/>
                  <a:pt x="29" y="15"/>
                  <a:pt x="29" y="15"/>
                </a:cubicBezTo>
                <a:cubicBezTo>
                  <a:pt x="29" y="15"/>
                  <a:pt x="30" y="15"/>
                  <a:pt x="29" y="14"/>
                </a:cubicBezTo>
                <a:cubicBezTo>
                  <a:pt x="30" y="14"/>
                  <a:pt x="29" y="14"/>
                  <a:pt x="29" y="14"/>
                </a:cubicBezTo>
                <a:cubicBezTo>
                  <a:pt x="29" y="14"/>
                  <a:pt x="29" y="14"/>
                  <a:pt x="30" y="14"/>
                </a:cubicBezTo>
                <a:cubicBezTo>
                  <a:pt x="30" y="14"/>
                  <a:pt x="30" y="14"/>
                  <a:pt x="29" y="14"/>
                </a:cubicBezTo>
                <a:cubicBezTo>
                  <a:pt x="29" y="13"/>
                  <a:pt x="28" y="14"/>
                  <a:pt x="28" y="14"/>
                </a:cubicBezTo>
                <a:cubicBezTo>
                  <a:pt x="28" y="14"/>
                  <a:pt x="28" y="14"/>
                  <a:pt x="28" y="14"/>
                </a:cubicBezTo>
                <a:close/>
                <a:moveTo>
                  <a:pt x="33" y="32"/>
                </a:moveTo>
                <a:cubicBezTo>
                  <a:pt x="33" y="32"/>
                  <a:pt x="33" y="32"/>
                  <a:pt x="33" y="32"/>
                </a:cubicBezTo>
                <a:cubicBezTo>
                  <a:pt x="32" y="32"/>
                  <a:pt x="32" y="32"/>
                  <a:pt x="32" y="32"/>
                </a:cubicBezTo>
                <a:cubicBezTo>
                  <a:pt x="32" y="31"/>
                  <a:pt x="31" y="31"/>
                  <a:pt x="31" y="31"/>
                </a:cubicBezTo>
                <a:cubicBezTo>
                  <a:pt x="31" y="31"/>
                  <a:pt x="30" y="30"/>
                  <a:pt x="30" y="30"/>
                </a:cubicBezTo>
                <a:cubicBezTo>
                  <a:pt x="30" y="30"/>
                  <a:pt x="29" y="31"/>
                  <a:pt x="29" y="31"/>
                </a:cubicBezTo>
                <a:cubicBezTo>
                  <a:pt x="29" y="30"/>
                  <a:pt x="29" y="30"/>
                  <a:pt x="28" y="30"/>
                </a:cubicBezTo>
                <a:cubicBezTo>
                  <a:pt x="28" y="30"/>
                  <a:pt x="28" y="29"/>
                  <a:pt x="27" y="30"/>
                </a:cubicBezTo>
                <a:cubicBezTo>
                  <a:pt x="27" y="30"/>
                  <a:pt x="27" y="30"/>
                  <a:pt x="27" y="31"/>
                </a:cubicBezTo>
                <a:cubicBezTo>
                  <a:pt x="27" y="30"/>
                  <a:pt x="27" y="30"/>
                  <a:pt x="27" y="30"/>
                </a:cubicBezTo>
                <a:cubicBezTo>
                  <a:pt x="27" y="29"/>
                  <a:pt x="26" y="30"/>
                  <a:pt x="26" y="30"/>
                </a:cubicBezTo>
                <a:cubicBezTo>
                  <a:pt x="26" y="30"/>
                  <a:pt x="26" y="30"/>
                  <a:pt x="26" y="30"/>
                </a:cubicBezTo>
                <a:cubicBezTo>
                  <a:pt x="25" y="31"/>
                  <a:pt x="25" y="31"/>
                  <a:pt x="25" y="31"/>
                </a:cubicBezTo>
                <a:cubicBezTo>
                  <a:pt x="25" y="31"/>
                  <a:pt x="25" y="31"/>
                  <a:pt x="25" y="31"/>
                </a:cubicBezTo>
                <a:cubicBezTo>
                  <a:pt x="25" y="31"/>
                  <a:pt x="25" y="32"/>
                  <a:pt x="25" y="33"/>
                </a:cubicBezTo>
                <a:cubicBezTo>
                  <a:pt x="25" y="33"/>
                  <a:pt x="25" y="34"/>
                  <a:pt x="25" y="34"/>
                </a:cubicBezTo>
                <a:cubicBezTo>
                  <a:pt x="24" y="34"/>
                  <a:pt x="24" y="35"/>
                  <a:pt x="24" y="35"/>
                </a:cubicBezTo>
                <a:cubicBezTo>
                  <a:pt x="24" y="35"/>
                  <a:pt x="24" y="36"/>
                  <a:pt x="24" y="36"/>
                </a:cubicBezTo>
                <a:cubicBezTo>
                  <a:pt x="24" y="36"/>
                  <a:pt x="24" y="36"/>
                  <a:pt x="24" y="37"/>
                </a:cubicBezTo>
                <a:cubicBezTo>
                  <a:pt x="24" y="37"/>
                  <a:pt x="24" y="37"/>
                  <a:pt x="24" y="37"/>
                </a:cubicBezTo>
                <a:cubicBezTo>
                  <a:pt x="27" y="37"/>
                  <a:pt x="31" y="35"/>
                  <a:pt x="33" y="3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77" tIns="34289" rIns="68577" bIns="34289" numCol="1" anchor="t" anchorCtr="0" compatLnSpc="1">
            <a:prstTxWarp prst="textNoShape">
              <a:avLst/>
            </a:prstTxWarp>
          </a:bodyPr>
          <a:lstStyle/>
          <a:p>
            <a:pPr defTabSz="685783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5" name="Pentagon 4">
            <a:extLst>
              <a:ext uri="{FF2B5EF4-FFF2-40B4-BE49-F238E27FC236}">
                <a16:creationId xmlns:a16="http://schemas.microsoft.com/office/drawing/2014/main" id="{6B520029-AE91-023B-0832-72A6CD73F762}"/>
              </a:ext>
            </a:extLst>
          </p:cNvPr>
          <p:cNvSpPr/>
          <p:nvPr/>
        </p:nvSpPr>
        <p:spPr>
          <a:xfrm>
            <a:off x="359002" y="1519588"/>
            <a:ext cx="3600000" cy="576064"/>
          </a:xfrm>
          <a:prstGeom prst="homePlate">
            <a:avLst/>
          </a:prstGeom>
          <a:solidFill>
            <a:srgbClr val="FFD5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Functional</a:t>
            </a:r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id="{9E9E5E7F-85F2-B57C-EB3A-0F37AF228FF7}"/>
              </a:ext>
            </a:extLst>
          </p:cNvPr>
          <p:cNvSpPr/>
          <p:nvPr/>
        </p:nvSpPr>
        <p:spPr>
          <a:xfrm>
            <a:off x="348860" y="2239507"/>
            <a:ext cx="3600000" cy="576064"/>
          </a:xfrm>
          <a:prstGeom prst="homePlate">
            <a:avLst/>
          </a:prstGeom>
          <a:solidFill>
            <a:srgbClr val="FFFD7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E2E</a:t>
            </a: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6AF8C5CD-AEC0-67EA-39DE-633C8C65BA8B}"/>
              </a:ext>
            </a:extLst>
          </p:cNvPr>
          <p:cNvSpPr/>
          <p:nvPr/>
        </p:nvSpPr>
        <p:spPr>
          <a:xfrm>
            <a:off x="359002" y="4399264"/>
            <a:ext cx="3588299" cy="576064"/>
          </a:xfrm>
          <a:prstGeom prst="homePlate">
            <a:avLst/>
          </a:prstGeom>
          <a:solidFill>
            <a:srgbClr val="73FB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Performance</a:t>
            </a:r>
          </a:p>
        </p:txBody>
      </p:sp>
      <p:sp>
        <p:nvSpPr>
          <p:cNvPr id="9" name="Pentagon 8">
            <a:extLst>
              <a:ext uri="{FF2B5EF4-FFF2-40B4-BE49-F238E27FC236}">
                <a16:creationId xmlns:a16="http://schemas.microsoft.com/office/drawing/2014/main" id="{C2BA6029-67E7-924C-1F05-B6E26C04714F}"/>
              </a:ext>
            </a:extLst>
          </p:cNvPr>
          <p:cNvSpPr/>
          <p:nvPr/>
        </p:nvSpPr>
        <p:spPr>
          <a:xfrm flipH="1">
            <a:off x="4572000" y="796910"/>
            <a:ext cx="3576602" cy="576064"/>
          </a:xfrm>
          <a:prstGeom prst="homePlate">
            <a:avLst/>
          </a:prstGeom>
          <a:solidFill>
            <a:srgbClr val="73FDD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Mutation</a:t>
            </a:r>
          </a:p>
        </p:txBody>
      </p:sp>
      <p:sp>
        <p:nvSpPr>
          <p:cNvPr id="10" name="Pentagon 9">
            <a:extLst>
              <a:ext uri="{FF2B5EF4-FFF2-40B4-BE49-F238E27FC236}">
                <a16:creationId xmlns:a16="http://schemas.microsoft.com/office/drawing/2014/main" id="{54DBDD1F-5B63-4EAD-F6E1-807224133DD9}"/>
              </a:ext>
            </a:extLst>
          </p:cNvPr>
          <p:cNvSpPr/>
          <p:nvPr/>
        </p:nvSpPr>
        <p:spPr>
          <a:xfrm>
            <a:off x="359002" y="2959426"/>
            <a:ext cx="3588299" cy="576064"/>
          </a:xfrm>
          <a:prstGeom prst="homePlate">
            <a:avLst/>
          </a:prstGeom>
          <a:solidFill>
            <a:srgbClr val="76D6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Contracts</a:t>
            </a:r>
          </a:p>
        </p:txBody>
      </p:sp>
      <p:sp>
        <p:nvSpPr>
          <p:cNvPr id="11" name="Pentagon 10">
            <a:extLst>
              <a:ext uri="{FF2B5EF4-FFF2-40B4-BE49-F238E27FC236}">
                <a16:creationId xmlns:a16="http://schemas.microsoft.com/office/drawing/2014/main" id="{E1CD294C-46C9-1E2D-09DC-D7D4D6E2616C}"/>
              </a:ext>
            </a:extLst>
          </p:cNvPr>
          <p:cNvSpPr/>
          <p:nvPr/>
        </p:nvSpPr>
        <p:spPr>
          <a:xfrm flipH="1">
            <a:off x="4588654" y="1517519"/>
            <a:ext cx="3588299" cy="576064"/>
          </a:xfrm>
          <a:prstGeom prst="homePlate">
            <a:avLst/>
          </a:prstGeom>
          <a:solidFill>
            <a:srgbClr val="7A81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Memory leakage</a:t>
            </a:r>
          </a:p>
        </p:txBody>
      </p:sp>
      <p:sp>
        <p:nvSpPr>
          <p:cNvPr id="12" name="Pentagon 11">
            <a:extLst>
              <a:ext uri="{FF2B5EF4-FFF2-40B4-BE49-F238E27FC236}">
                <a16:creationId xmlns:a16="http://schemas.microsoft.com/office/drawing/2014/main" id="{398C1DE3-75EB-9CDC-C515-F69B87339964}"/>
              </a:ext>
            </a:extLst>
          </p:cNvPr>
          <p:cNvSpPr/>
          <p:nvPr/>
        </p:nvSpPr>
        <p:spPr>
          <a:xfrm flipH="1">
            <a:off x="4600352" y="2238128"/>
            <a:ext cx="3588299" cy="576064"/>
          </a:xfrm>
          <a:prstGeom prst="homePlate">
            <a:avLst/>
          </a:prstGeom>
          <a:solidFill>
            <a:srgbClr val="D883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Snapshot</a:t>
            </a:r>
          </a:p>
        </p:txBody>
      </p:sp>
      <p:sp>
        <p:nvSpPr>
          <p:cNvPr id="13" name="Pentagon 12">
            <a:extLst>
              <a:ext uri="{FF2B5EF4-FFF2-40B4-BE49-F238E27FC236}">
                <a16:creationId xmlns:a16="http://schemas.microsoft.com/office/drawing/2014/main" id="{0D8FFCF5-4053-D9AC-7B31-FB56B5D613D2}"/>
              </a:ext>
            </a:extLst>
          </p:cNvPr>
          <p:cNvSpPr/>
          <p:nvPr/>
        </p:nvSpPr>
        <p:spPr>
          <a:xfrm flipH="1">
            <a:off x="4600352" y="2958737"/>
            <a:ext cx="3599999" cy="576064"/>
          </a:xfrm>
          <a:prstGeom prst="homePlate">
            <a:avLst/>
          </a:prstGeom>
          <a:solidFill>
            <a:srgbClr val="FF85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Security</a:t>
            </a:r>
          </a:p>
        </p:txBody>
      </p:sp>
      <p:sp>
        <p:nvSpPr>
          <p:cNvPr id="14" name="Pentagon 13">
            <a:extLst>
              <a:ext uri="{FF2B5EF4-FFF2-40B4-BE49-F238E27FC236}">
                <a16:creationId xmlns:a16="http://schemas.microsoft.com/office/drawing/2014/main" id="{A21C9AEE-9710-33E5-3B8B-2CA0E9BF53F7}"/>
              </a:ext>
            </a:extLst>
          </p:cNvPr>
          <p:cNvSpPr/>
          <p:nvPr/>
        </p:nvSpPr>
        <p:spPr>
          <a:xfrm flipH="1">
            <a:off x="4588654" y="3679345"/>
            <a:ext cx="3599998" cy="576064"/>
          </a:xfrm>
          <a:prstGeom prst="homePlate">
            <a:avLst/>
          </a:prstGeom>
          <a:solidFill>
            <a:srgbClr val="FF8A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Code quality</a:t>
            </a:r>
          </a:p>
        </p:txBody>
      </p:sp>
      <p:sp>
        <p:nvSpPr>
          <p:cNvPr id="15" name="Pentagon 14">
            <a:extLst>
              <a:ext uri="{FF2B5EF4-FFF2-40B4-BE49-F238E27FC236}">
                <a16:creationId xmlns:a16="http://schemas.microsoft.com/office/drawing/2014/main" id="{ECBE0CE3-5BD6-B6F5-482D-DD2478B097AB}"/>
              </a:ext>
            </a:extLst>
          </p:cNvPr>
          <p:cNvSpPr/>
          <p:nvPr/>
        </p:nvSpPr>
        <p:spPr>
          <a:xfrm>
            <a:off x="359002" y="3679345"/>
            <a:ext cx="3600000" cy="576064"/>
          </a:xfrm>
          <a:prstGeom prst="homePlate">
            <a:avLst/>
          </a:prstGeom>
          <a:solidFill>
            <a:srgbClr val="D5FC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Accessibility</a:t>
            </a:r>
          </a:p>
        </p:txBody>
      </p:sp>
    </p:spTree>
    <p:extLst>
      <p:ext uri="{BB962C8B-B14F-4D97-AF65-F5344CB8AC3E}">
        <p14:creationId xmlns:p14="http://schemas.microsoft.com/office/powerpoint/2010/main" val="235465262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1830100991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DF8971E-7CEB-AB50-CA53-DD4CDE1041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1960" y="915566"/>
            <a:ext cx="4200140" cy="3651870"/>
          </a:xfrm>
          <a:prstGeom prst="rect">
            <a:avLst/>
          </a:prstGeom>
        </p:spPr>
      </p:pic>
      <p:pic>
        <p:nvPicPr>
          <p:cNvPr id="3" name="Picture 2" descr="iDEAL - Wikipedia">
            <a:extLst>
              <a:ext uri="{FF2B5EF4-FFF2-40B4-BE49-F238E27FC236}">
                <a16:creationId xmlns:a16="http://schemas.microsoft.com/office/drawing/2014/main" id="{C25F5E9E-11DF-B122-0AA2-A91143151E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347614"/>
            <a:ext cx="3162059" cy="2787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0915711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39615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113235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3715927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354753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rgbClr val="D6D6D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4143067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Breaking the tests</a:t>
            </a:r>
          </a:p>
        </p:txBody>
      </p:sp>
      <p:pic>
        <p:nvPicPr>
          <p:cNvPr id="2" name="Picture Placeholder 31">
            <a:extLst>
              <a:ext uri="{FF2B5EF4-FFF2-40B4-BE49-F238E27FC236}">
                <a16:creationId xmlns:a16="http://schemas.microsoft.com/office/drawing/2014/main" id="{1D958EED-2373-ED41-4482-9CB1B38C051D}"/>
              </a:ext>
            </a:extLst>
          </p:cNvPr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2" b="-370"/>
          <a:stretch/>
        </p:blipFill>
        <p:spPr>
          <a:xfrm>
            <a:off x="1904732" y="1186095"/>
            <a:ext cx="5328592" cy="35248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66092921"/>
      </p:ext>
    </p:extLst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 driven development</a:t>
            </a:r>
          </a:p>
        </p:txBody>
      </p:sp>
      <p:pic>
        <p:nvPicPr>
          <p:cNvPr id="8194" name="Picture 2" descr="The Red Green Refactor of TDD - Hashnode">
            <a:extLst>
              <a:ext uri="{FF2B5EF4-FFF2-40B4-BE49-F238E27FC236}">
                <a16:creationId xmlns:a16="http://schemas.microsoft.com/office/drawing/2014/main" id="{F9C1F1E6-E530-E8BE-DCC3-E70743F6C4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1059582"/>
            <a:ext cx="5385668" cy="3576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7319874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Integration with the pipeli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6665D5-6635-2BB5-DF8B-9AF3002F05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860" y="2167764"/>
            <a:ext cx="8440337" cy="823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859853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Breaking the tests + Test driven development</a:t>
            </a:r>
          </a:p>
        </p:txBody>
      </p:sp>
      <p:pic>
        <p:nvPicPr>
          <p:cNvPr id="8194" name="Picture 2" descr="The Red Green Refactor of TDD - Hashnode">
            <a:extLst>
              <a:ext uri="{FF2B5EF4-FFF2-40B4-BE49-F238E27FC236}">
                <a16:creationId xmlns:a16="http://schemas.microsoft.com/office/drawing/2014/main" id="{F9C1F1E6-E530-E8BE-DCC3-E70743F6C4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907" y="1507074"/>
            <a:ext cx="3795200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Placeholder 31">
            <a:extLst>
              <a:ext uri="{FF2B5EF4-FFF2-40B4-BE49-F238E27FC236}">
                <a16:creationId xmlns:a16="http://schemas.microsoft.com/office/drawing/2014/main" id="{E4A33DB4-3639-7196-8EFB-EF31933BBFBA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2" b="-370"/>
          <a:stretch/>
        </p:blipFill>
        <p:spPr>
          <a:xfrm>
            <a:off x="505592" y="1593284"/>
            <a:ext cx="3549346" cy="23478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" name="Plus 3">
            <a:extLst>
              <a:ext uri="{FF2B5EF4-FFF2-40B4-BE49-F238E27FC236}">
                <a16:creationId xmlns:a16="http://schemas.microsoft.com/office/drawing/2014/main" id="{0620DCC0-89F7-3186-6A03-CD3FC09E4A79}"/>
              </a:ext>
            </a:extLst>
          </p:cNvPr>
          <p:cNvSpPr/>
          <p:nvPr/>
        </p:nvSpPr>
        <p:spPr>
          <a:xfrm>
            <a:off x="4217686" y="2211710"/>
            <a:ext cx="1224136" cy="1296144"/>
          </a:xfrm>
          <a:prstGeom prst="mathPlus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735035545"/>
      </p:ext>
    </p:extLst>
  </p:cSld>
  <p:clrMapOvr>
    <a:masterClrMapping/>
  </p:clrMapOvr>
  <p:transition spd="slow">
    <p:push dir="u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41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F7FF78B-FE18-6D05-181B-FF316AC5662A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CD541EC-399B-997B-58E2-DB98743B690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7D1C1C-4F7C-1002-B01E-3741BE171F5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9" name="Graphic 8" descr="Close with solid fill">
              <a:extLst>
                <a:ext uri="{FF2B5EF4-FFF2-40B4-BE49-F238E27FC236}">
                  <a16:creationId xmlns:a16="http://schemas.microsoft.com/office/drawing/2014/main" id="{0DF83CF7-CF64-41C9-9D38-76F829BEF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Close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B635F840-9A0F-2EFE-6310-DE4FC27A0DD8}"/>
              </a:ext>
            </a:extLst>
          </p:cNvPr>
          <p:cNvSpPr txBox="1"/>
          <p:nvPr/>
        </p:nvSpPr>
        <p:spPr>
          <a:xfrm>
            <a:off x="348860" y="412342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u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defined</a:t>
            </a: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3206553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24" descr="A magnifying glass over a computer monitor&#10;&#10;Description automatically generated">
            <a:extLst>
              <a:ext uri="{FF2B5EF4-FFF2-40B4-BE49-F238E27FC236}">
                <a16:creationId xmlns:a16="http://schemas.microsoft.com/office/drawing/2014/main" id="{A61FDCBE-0D8B-A7FF-DDBC-F6C44F8E3A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12381" b="12381"/>
          <a:stretch>
            <a:fillRect/>
          </a:stretch>
        </p:blipFill>
        <p:spPr>
          <a:xfrm>
            <a:off x="5253737" y="3063691"/>
            <a:ext cx="3168352" cy="1668299"/>
          </a:xfrm>
          <a:prstGeom prst="rect">
            <a:avLst/>
          </a:prstGeom>
          <a:noFill/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3BD8E28-FA4D-F537-0740-B0920A8BDBCF}"/>
              </a:ext>
            </a:extLst>
          </p:cNvPr>
          <p:cNvSpPr txBox="1"/>
          <p:nvPr/>
        </p:nvSpPr>
        <p:spPr>
          <a:xfrm>
            <a:off x="5815835" y="2478440"/>
            <a:ext cx="20441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>
                <a:solidFill>
                  <a:schemeClr val="bg2"/>
                </a:solidFill>
              </a:rPr>
              <a:t>b</a:t>
            </a:r>
            <a:r>
              <a:rPr lang="en-NL" sz="2400" b="1">
                <a:solidFill>
                  <a:schemeClr val="bg2"/>
                </a:solidFill>
              </a:rPr>
              <a:t>y Illia Lebi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E149FF1-26E8-294F-5AA2-BFE9CC9E929C}"/>
              </a:ext>
            </a:extLst>
          </p:cNvPr>
          <p:cNvSpPr txBox="1"/>
          <p:nvPr/>
        </p:nvSpPr>
        <p:spPr>
          <a:xfrm>
            <a:off x="5058001" y="1164073"/>
            <a:ext cx="35598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>
                <a:solidFill>
                  <a:schemeClr val="bg2"/>
                </a:solidFill>
              </a:rPr>
              <a:t>FULL PROOF TESTING</a:t>
            </a:r>
            <a:endParaRPr lang="en-NL" sz="2400" b="1" dirty="0">
              <a:solidFill>
                <a:schemeClr val="bg2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A26D5F7-5C98-4C3B-EA59-3C7B54D7288B}"/>
              </a:ext>
            </a:extLst>
          </p:cNvPr>
          <p:cNvSpPr txBox="1"/>
          <p:nvPr/>
        </p:nvSpPr>
        <p:spPr>
          <a:xfrm>
            <a:off x="4859710" y="1629478"/>
            <a:ext cx="39564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/>
                </a:solidFill>
              </a:rPr>
              <a:t>A GUIDE TO STABLE APPLICATION</a:t>
            </a:r>
            <a:endParaRPr lang="en-NL">
              <a:solidFill>
                <a:schemeClr val="bg2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D188345-4E50-9CD3-607B-D5951B081136}"/>
              </a:ext>
            </a:extLst>
          </p:cNvPr>
          <p:cNvSpPr/>
          <p:nvPr/>
        </p:nvSpPr>
        <p:spPr>
          <a:xfrm>
            <a:off x="5058000" y="2174989"/>
            <a:ext cx="3559821" cy="3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FFE425D-44EC-0826-D05C-B2B8EC694B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71" r="16771"/>
          <a:stretch/>
        </p:blipFill>
        <p:spPr>
          <a:xfrm>
            <a:off x="1" y="0"/>
            <a:ext cx="4571999" cy="5143500"/>
          </a:xfrm>
          <a:prstGeom prst="rect">
            <a:avLst/>
          </a:prstGeom>
        </p:spPr>
      </p:pic>
      <p:pic>
        <p:nvPicPr>
          <p:cNvPr id="3074" name="Picture 2" descr="ABN AMRO | World Economic Forum">
            <a:extLst>
              <a:ext uri="{FF2B5EF4-FFF2-40B4-BE49-F238E27FC236}">
                <a16:creationId xmlns:a16="http://schemas.microsoft.com/office/drawing/2014/main" id="{1333D85A-FCF0-3CC7-0CFD-BD5EDADB7D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3" t="32726" r="6503" b="24801"/>
          <a:stretch/>
        </p:blipFill>
        <p:spPr bwMode="auto">
          <a:xfrm>
            <a:off x="5058000" y="50332"/>
            <a:ext cx="3490050" cy="990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76102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  <p:bldP spid="17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41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F7FF78B-FE18-6D05-181B-FF316AC5662A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CD541EC-399B-997B-58E2-DB98743B690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7D1C1C-4F7C-1002-B01E-3741BE171F5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9" name="Graphic 8" descr="Close with solid fill">
              <a:extLst>
                <a:ext uri="{FF2B5EF4-FFF2-40B4-BE49-F238E27FC236}">
                  <a16:creationId xmlns:a16="http://schemas.microsoft.com/office/drawing/2014/main" id="{0DF83CF7-CF64-41C9-9D38-76F829BEF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6BBA735-EA00-C4DE-DA7B-E285C79A1477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10</a:t>
            </a:r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5795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F7FF78B-FE18-6D05-181B-FF316AC5662A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CD541EC-399B-997B-58E2-DB98743B690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7D1C1C-4F7C-1002-B01E-3741BE171F5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9" name="Graphic 8" descr="Close with solid fill">
              <a:extLst>
                <a:ext uri="{FF2B5EF4-FFF2-40B4-BE49-F238E27FC236}">
                  <a16:creationId xmlns:a16="http://schemas.microsoft.com/office/drawing/2014/main" id="{0DF83CF7-CF64-41C9-9D38-76F829BEF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6BBA735-EA00-C4DE-DA7B-E285C79A1477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5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5000</a:t>
            </a:r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9067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384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52675CF9-F757-DDA3-EF7D-BAF158D93DF6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5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4500</a:t>
            </a:r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75775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41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1938880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 descr="Close with solid fill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3891BF8C-88AD-4E23-F9B3-A119EFB9DBD4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u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defined</a:t>
            </a: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74189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  <a:endParaRPr lang="en-GB" sz="1000" dirty="0">
              <a:solidFill>
                <a:srgbClr val="C586C0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FF0000"/>
                </a:solidFill>
                <a:latin typeface="Menlo" panose="020B0609030804020204" pitchFamily="49" charset="0"/>
              </a:rPr>
              <a:t>Uncaught error: PriceIsARequiredParameter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80161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  <a:endParaRPr lang="en-GB" sz="1000" dirty="0">
              <a:solidFill>
                <a:srgbClr val="C586C0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2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5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4000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FEB9AA7-EBA8-0E99-B49D-0A78BE541B2E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5DA4B8C-7F22-2EBF-EEB1-EE4430F9FCD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2457F0E-10A0-F0A1-F9CA-0F6C4C6A3B5F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98B14A2B-4513-BBEB-9EF0-43387D9A6B0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1892637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>
        <p159:morph option="byWord"/>
      </p:transition>
    </mc:Choice>
    <mc:Fallback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alse;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  <a:endParaRPr lang="en-GB" sz="1000" dirty="0">
              <a:solidFill>
                <a:srgbClr val="C586C0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alse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DC0BDE9-DECE-350B-2A60-14BFEF67D1DD}"/>
              </a:ext>
            </a:extLst>
          </p:cNvPr>
          <p:cNvGrpSpPr/>
          <p:nvPr/>
        </p:nvGrpSpPr>
        <p:grpSpPr>
          <a:xfrm>
            <a:off x="5283543" y="1938880"/>
            <a:ext cx="3511597" cy="270000"/>
            <a:chOff x="5277600" y="1334174"/>
            <a:chExt cx="3511597" cy="270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0EE9E37-5569-6542-9D61-0151F7EB04F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A1F5FA3-6E67-3300-2ECE-F88651DA527A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23" name="Graphic 22" descr="Close with solid fill">
              <a:extLst>
                <a:ext uri="{FF2B5EF4-FFF2-40B4-BE49-F238E27FC236}">
                  <a16:creationId xmlns:a16="http://schemas.microsoft.com/office/drawing/2014/main" id="{C846CC1C-E3DC-2ED2-23D4-88CD6E8A1C2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608209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  <a:endParaRPr lang="en-GB" sz="1000" dirty="0">
              <a:solidFill>
                <a:srgbClr val="C586C0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-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2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8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FF3BD1A-A7D5-16E4-8890-F422965FCE44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C23323B-E360-56C3-6649-5DB368491341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13E8167-85CE-7175-5BCB-0019C93EE22F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991ADE58-1ECC-87AB-7F65-9E780D68203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0124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6512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Free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Free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032231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>
        <p159:morph option="byWord"/>
      </p:transition>
    </mc:Choice>
    <mc:Fallback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raceability matrix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40FBB8FC-2C78-DA15-A0FC-CD8A5463DA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3314909"/>
              </p:ext>
            </p:extLst>
          </p:nvPr>
        </p:nvGraphicFramePr>
        <p:xfrm>
          <a:off x="348860" y="915567"/>
          <a:ext cx="8440338" cy="3878305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647076">
                  <a:extLst>
                    <a:ext uri="{9D8B030D-6E8A-4147-A177-3AD203B41FA5}">
                      <a16:colId xmlns:a16="http://schemas.microsoft.com/office/drawing/2014/main" val="1965030983"/>
                    </a:ext>
                  </a:extLst>
                </a:gridCol>
                <a:gridCol w="3744416">
                  <a:extLst>
                    <a:ext uri="{9D8B030D-6E8A-4147-A177-3AD203B41FA5}">
                      <a16:colId xmlns:a16="http://schemas.microsoft.com/office/drawing/2014/main" val="2920070249"/>
                    </a:ext>
                  </a:extLst>
                </a:gridCol>
                <a:gridCol w="1048846">
                  <a:extLst>
                    <a:ext uri="{9D8B030D-6E8A-4147-A177-3AD203B41FA5}">
                      <a16:colId xmlns:a16="http://schemas.microsoft.com/office/drawing/2014/main" val="1545983017"/>
                    </a:ext>
                  </a:extLst>
                </a:gridCol>
              </a:tblGrid>
              <a:tr h="699355">
                <a:tc>
                  <a:txBody>
                    <a:bodyPr/>
                    <a:lstStyle/>
                    <a:p>
                      <a:r>
                        <a:rPr lang="en-NL"/>
                        <a:t>Ac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/>
                        <a:t>Expected resul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/>
                        <a:t>Is tes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761278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opens the catalogu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st of products is sh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12475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 bla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919097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aa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aaa bla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940046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 and bla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589004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 bla bla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d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4624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5658377"/>
      </p:ext>
    </p:extLst>
  </p:cSld>
  <p:clrMapOvr>
    <a:masterClrMapping/>
  </p:clrMapOvr>
  <p:transition spd="slow">
    <p:push dir="u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Free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Free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23DE63B-C896-917D-3570-DD4E2D3759C9}"/>
              </a:ext>
            </a:extLst>
          </p:cNvPr>
          <p:cNvGrpSpPr/>
          <p:nvPr/>
        </p:nvGrpSpPr>
        <p:grpSpPr>
          <a:xfrm>
            <a:off x="5283543" y="2280157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9C9EF55-23B9-1A85-7455-1EAE8017BE3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D695A91-E323-7422-5534-4E2FC046186C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B16C178C-E17D-F0FE-3155-4F7D0F425C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837663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Free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FF0000"/>
                </a:solidFill>
                <a:latin typeface="Menlo" panose="020B0609030804020204" pitchFamily="49" charset="0"/>
              </a:rPr>
              <a:t>Uncaught error: PriceIsARequiredParameter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51135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9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23467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10585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94D5BE9-991D-E94B-FAE1-CACF83F69336}"/>
              </a:ext>
            </a:extLst>
          </p:cNvPr>
          <p:cNvGrpSpPr/>
          <p:nvPr/>
        </p:nvGrpSpPr>
        <p:grpSpPr>
          <a:xfrm>
            <a:off x="5283543" y="2616770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E9AA354-828A-9486-9FDC-1BCCEA8DA332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1C0D912-AFF7-5531-F9D5-4FE36574F7FD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69BBED4F-7D52-5AB4-9CB7-4100A0CEB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709282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1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9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94D5BE9-991D-E94B-FAE1-CACF83F69336}"/>
              </a:ext>
            </a:extLst>
          </p:cNvPr>
          <p:cNvGrpSpPr/>
          <p:nvPr/>
        </p:nvGrpSpPr>
        <p:grpSpPr>
          <a:xfrm>
            <a:off x="5283543" y="2616770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E9AA354-828A-9486-9FDC-1BCCEA8DA332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1C0D912-AFF7-5531-F9D5-4FE36574F7FD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Tick with solid fill">
              <a:extLst>
                <a:ext uri="{FF2B5EF4-FFF2-40B4-BE49-F238E27FC236}">
                  <a16:creationId xmlns:a16="http://schemas.microsoft.com/office/drawing/2014/main" id="{69BBED4F-7D52-5AB4-9CB7-4100A0CEB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686303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Breaking the tests + Test driven development</a:t>
            </a:r>
          </a:p>
        </p:txBody>
      </p:sp>
      <p:pic>
        <p:nvPicPr>
          <p:cNvPr id="8194" name="Picture 2" descr="The Red Green Refactor of TDD - Hashnode">
            <a:extLst>
              <a:ext uri="{FF2B5EF4-FFF2-40B4-BE49-F238E27FC236}">
                <a16:creationId xmlns:a16="http://schemas.microsoft.com/office/drawing/2014/main" id="{F9C1F1E6-E530-E8BE-DCC3-E70743F6C4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907" y="1507074"/>
            <a:ext cx="3795200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Placeholder 31">
            <a:extLst>
              <a:ext uri="{FF2B5EF4-FFF2-40B4-BE49-F238E27FC236}">
                <a16:creationId xmlns:a16="http://schemas.microsoft.com/office/drawing/2014/main" id="{E4A33DB4-3639-7196-8EFB-EF31933BBFBA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2" b="-370"/>
          <a:stretch/>
        </p:blipFill>
        <p:spPr>
          <a:xfrm>
            <a:off x="505592" y="1593284"/>
            <a:ext cx="3549346" cy="23478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" name="Plus 3">
            <a:extLst>
              <a:ext uri="{FF2B5EF4-FFF2-40B4-BE49-F238E27FC236}">
                <a16:creationId xmlns:a16="http://schemas.microsoft.com/office/drawing/2014/main" id="{0620DCC0-89F7-3186-6A03-CD3FC09E4A79}"/>
              </a:ext>
            </a:extLst>
          </p:cNvPr>
          <p:cNvSpPr/>
          <p:nvPr/>
        </p:nvSpPr>
        <p:spPr>
          <a:xfrm>
            <a:off x="4217686" y="2211710"/>
            <a:ext cx="1224136" cy="1296144"/>
          </a:xfrm>
          <a:prstGeom prst="mathPlus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89356224"/>
      </p:ext>
    </p:extLst>
  </p:cSld>
  <p:clrMapOvr>
    <a:masterClrMapping/>
  </p:clrMapOvr>
  <p:transition spd="slow">
    <p:push dir="u"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 descr="Yellow and blue symbols">
            <a:extLst>
              <a:ext uri="{FF2B5EF4-FFF2-40B4-BE49-F238E27FC236}">
                <a16:creationId xmlns:a16="http://schemas.microsoft.com/office/drawing/2014/main" id="{D9B3ADC5-BD3A-D3DC-1B42-5E3EABA748A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87" r="15987"/>
          <a:stretch>
            <a:fillRect/>
          </a:stretch>
        </p:blipFill>
        <p:spPr/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76A889C-9ED2-603F-DF41-D1EA60B05E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/>
              <a:t>Q&amp;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4AFE4A3-7D18-8405-242E-8C67D33F0BFF}"/>
              </a:ext>
            </a:extLst>
          </p:cNvPr>
          <p:cNvSpPr txBox="1"/>
          <p:nvPr/>
        </p:nvSpPr>
        <p:spPr>
          <a:xfrm>
            <a:off x="4922514" y="807800"/>
            <a:ext cx="36099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1600"/>
              <a:t>My LinkedIn </a:t>
            </a:r>
            <a:r>
              <a:rPr lang="en-GB" sz="1600" b="0" i="0" dirty="0">
                <a:solidFill>
                  <a:srgbClr val="0078D7"/>
                </a:solidFill>
                <a:effectLst/>
                <a:latin typeface="Calibri" panose="020F0502020204030204" pitchFamily="34" charset="0"/>
                <a:hlinkClick r:id="rId3" tooltip="Original URL:&#10;https://www.linkedin.com/in/illia-lebid&#10;&#10;Click to follow link."/>
              </a:rPr>
              <a:t>https://www.linkedin.com/in/illia-lebid</a:t>
            </a:r>
            <a:endParaRPr lang="en-NL" sz="160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4C234C3B-5E53-12F2-4F73-F6BD770E68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66530" y="1471976"/>
            <a:ext cx="3321894" cy="3321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70941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6AFECAC-E406-FE83-C429-3462E0E520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Unit, functional, e2e, contracts tests</a:t>
            </a:r>
          </a:p>
        </p:txBody>
      </p:sp>
    </p:spTree>
    <p:extLst>
      <p:ext uri="{BB962C8B-B14F-4D97-AF65-F5344CB8AC3E}">
        <p14:creationId xmlns:p14="http://schemas.microsoft.com/office/powerpoint/2010/main" val="3379690736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L" sz="2300" dirty="0"/>
              <a:t>Unit</a:t>
            </a:r>
            <a:r>
              <a:rPr lang="en-NL" dirty="0"/>
              <a:t>, </a:t>
            </a:r>
            <a:r>
              <a:rPr lang="en-NL" b="0" dirty="0"/>
              <a:t>functional, e2e, contracts tes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EA5DBA2-C0D1-E027-D0F9-88F7644169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134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L" b="0" dirty="0"/>
              <a:t>Unit, </a:t>
            </a:r>
            <a:r>
              <a:rPr lang="en-NL" sz="2400" dirty="0"/>
              <a:t>functional</a:t>
            </a:r>
            <a:r>
              <a:rPr lang="en-NL" b="0" dirty="0"/>
              <a:t>, e2e, contracts test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DCEB60C-6897-C65E-54E2-3A2E6AA102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95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L" b="0" dirty="0"/>
              <a:t>Unit, functional, </a:t>
            </a:r>
            <a:r>
              <a:rPr lang="en-NL" sz="2400" dirty="0"/>
              <a:t>e2e</a:t>
            </a:r>
            <a:r>
              <a:rPr lang="en-NL" b="0" dirty="0"/>
              <a:t>, contracts tes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95A3409-BA3E-4F99-99B8-CA46572453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872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L" b="0" dirty="0"/>
              <a:t>Unit, functional, e2e, </a:t>
            </a:r>
            <a:r>
              <a:rPr lang="en-NL" sz="2400" dirty="0"/>
              <a:t>contracts </a:t>
            </a:r>
            <a:r>
              <a:rPr lang="en-NL" b="0" dirty="0"/>
              <a:t>tes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C87755-38B1-9BE0-D630-20F0E53C3C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88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23zVD2c0.5ArztPZ1x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0V7tEoZke4k1_faZ6v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wrtB1ghUWQI7j7Yv7O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mLmtELKk.dE1NNAEUH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j4BT5Q2ECGLOqDhkAQ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PpYcjxNUWMtZhOAP.B.w"/>
</p:tagLst>
</file>

<file path=ppt/theme/theme1.xml><?xml version="1.0" encoding="utf-8"?>
<a:theme xmlns:a="http://schemas.openxmlformats.org/drawingml/2006/main" name="Extern 16x9 EN">
  <a:themeElements>
    <a:clrScheme name="ABN AMRO Ex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54646C"/>
      </a:accent2>
      <a:accent3>
        <a:srgbClr val="00646C"/>
      </a:accent3>
      <a:accent4>
        <a:srgbClr val="94C23C"/>
      </a:accent4>
      <a:accent5>
        <a:srgbClr val="BBBEC3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xtern 16x9 EN.potx" id="{732F7AAE-5A20-4D40-A005-8ACF015CAE8C}" vid="{B18A1B3A-248C-46B7-9F8A-52AEA66AF423}"/>
    </a:ext>
  </a:extLst>
</a:theme>
</file>

<file path=ppt/theme/theme2.xml><?xml version="1.0" encoding="utf-8"?>
<a:theme xmlns:a="http://schemas.openxmlformats.org/drawingml/2006/main" name="Kantoorthema">
  <a:themeElements>
    <a:clrScheme name="ABN AMRO">
      <a:dk1>
        <a:srgbClr val="000000"/>
      </a:dk1>
      <a:lt1>
        <a:sysClr val="window" lastClr="FFFFFF"/>
      </a:lt1>
      <a:dk2>
        <a:srgbClr val="009286"/>
      </a:dk2>
      <a:lt2>
        <a:srgbClr val="004C4C"/>
      </a:lt2>
      <a:accent1>
        <a:srgbClr val="79838C"/>
      </a:accent1>
      <a:accent2>
        <a:srgbClr val="009286"/>
      </a:accent2>
      <a:accent3>
        <a:srgbClr val="BBBEC3"/>
      </a:accent3>
      <a:accent4>
        <a:srgbClr val="005E5D"/>
      </a:accent4>
      <a:accent5>
        <a:srgbClr val="F3C000"/>
      </a:accent5>
      <a:accent6>
        <a:srgbClr val="006480"/>
      </a:accent6>
      <a:hlink>
        <a:srgbClr val="009286"/>
      </a:hlink>
      <a:folHlink>
        <a:srgbClr val="0067B2"/>
      </a:folHlink>
    </a:clrScheme>
    <a:fontScheme name="Aangepast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bg2"/>
          </a:solidFill>
          <a:headEnd type="none" w="med" len="med"/>
          <a:tailEnd type="oval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035731041D68E479D4061DB65E85A9D" ma:contentTypeVersion="16" ma:contentTypeDescription="Een nieuw document maken." ma:contentTypeScope="" ma:versionID="ef13125cec03ea32b7f7b2fb38be439f">
  <xsd:schema xmlns:xsd="http://www.w3.org/2001/XMLSchema" xmlns:xs="http://www.w3.org/2001/XMLSchema" xmlns:p="http://schemas.microsoft.com/office/2006/metadata/properties" xmlns:ns2="53dbb911-c30a-421f-b09c-09dd51c662b7" xmlns:ns3="c962d9db-3d13-45f0-8a7d-4953e14385ca" targetNamespace="http://schemas.microsoft.com/office/2006/metadata/properties" ma:root="true" ma:fieldsID="83ae3767d113b8d814f4a957d85ea42e" ns2:_="" ns3:_="">
    <xsd:import namespace="53dbb911-c30a-421f-b09c-09dd51c662b7"/>
    <xsd:import namespace="c962d9db-3d13-45f0-8a7d-4953e14385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dbb911-c30a-421f-b09c-09dd51c662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Afbeeldingtags" ma:readOnly="false" ma:fieldId="{5cf76f15-5ced-4ddc-b409-7134ff3c332f}" ma:taxonomyMulti="true" ma:sspId="b914e6b1-0896-40a9-85da-0b0e1f3ba41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62d9db-3d13-45f0-8a7d-4953e14385ca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7ddf58a-400d-4ed4-b70f-8fec476dde17}" ma:internalName="TaxCatchAll" ma:showField="CatchAllData" ma:web="c962d9db-3d13-45f0-8a7d-4953e14385c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3dbb911-c30a-421f-b09c-09dd51c662b7">
      <Terms xmlns="http://schemas.microsoft.com/office/infopath/2007/PartnerControls"/>
    </lcf76f155ced4ddcb4097134ff3c332f>
    <TaxCatchAll xmlns="c962d9db-3d13-45f0-8a7d-4953e14385ca" xsi:nil="true"/>
    <SharedWithUsers xmlns="c962d9db-3d13-45f0-8a7d-4953e14385ca">
      <UserInfo>
        <DisplayName/>
        <AccountId xsi:nil="true"/>
        <AccountType/>
      </UserInfo>
    </SharedWithUsers>
    <MediaLengthInSeconds xmlns="53dbb911-c30a-421f-b09c-09dd51c662b7" xsi:nil="true"/>
  </documentManagement>
</p:properties>
</file>

<file path=customXml/itemProps1.xml><?xml version="1.0" encoding="utf-8"?>
<ds:datastoreItem xmlns:ds="http://schemas.openxmlformats.org/officeDocument/2006/customXml" ds:itemID="{488198E7-3907-46AD-AD9B-68EBD5698BE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DCE4295-34B9-488F-8ADF-4F30248ED5B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3dbb911-c30a-421f-b09c-09dd51c662b7"/>
    <ds:schemaRef ds:uri="c962d9db-3d13-45f0-8a7d-4953e14385c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DC51916-87AC-4A9B-A959-3350DB9B11FB}">
  <ds:schemaRefs>
    <ds:schemaRef ds:uri="http://purl.org/dc/terms/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c962d9db-3d13-45f0-8a7d-4953e14385ca"/>
    <ds:schemaRef ds:uri="53dbb911-c30a-421f-b09c-09dd51c662b7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144</TotalTime>
  <Words>1732</Words>
  <Application>Microsoft Macintosh PowerPoint</Application>
  <PresentationFormat>On-screen Show (16:9)</PresentationFormat>
  <Paragraphs>391</Paragraphs>
  <Slides>4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6" baseType="lpstr">
      <vt:lpstr>Arial</vt:lpstr>
      <vt:lpstr>Calibri</vt:lpstr>
      <vt:lpstr>Courier New</vt:lpstr>
      <vt:lpstr>Menlo</vt:lpstr>
      <vt:lpstr>Wingdings</vt:lpstr>
      <vt:lpstr>Wingdings 3</vt:lpstr>
      <vt:lpstr>Extern 16x9 EN</vt:lpstr>
      <vt:lpstr>Kantoorthema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BN AMR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ijer,Tamar</dc:creator>
  <cp:lastModifiedBy>Illia Lebid</cp:lastModifiedBy>
  <cp:revision>123</cp:revision>
  <dcterms:created xsi:type="dcterms:W3CDTF">2018-08-28T11:37:56Z</dcterms:created>
  <dcterms:modified xsi:type="dcterms:W3CDTF">2023-10-19T08:21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bce33f7-04c0-4596-9b71-ba8617e88451_Enabled">
    <vt:lpwstr>true</vt:lpwstr>
  </property>
  <property fmtid="{D5CDD505-2E9C-101B-9397-08002B2CF9AE}" pid="3" name="MSIP_Label_0bce33f7-04c0-4596-9b71-ba8617e88451_SetDate">
    <vt:lpwstr>2021-02-04T16:39:13Z</vt:lpwstr>
  </property>
  <property fmtid="{D5CDD505-2E9C-101B-9397-08002B2CF9AE}" pid="4" name="MSIP_Label_0bce33f7-04c0-4596-9b71-ba8617e88451_Method">
    <vt:lpwstr>Privileged</vt:lpwstr>
  </property>
  <property fmtid="{D5CDD505-2E9C-101B-9397-08002B2CF9AE}" pid="5" name="MSIP_Label_0bce33f7-04c0-4596-9b71-ba8617e88451_Name">
    <vt:lpwstr>0bce33f7-04c0-4596-9b71-ba8617e88451</vt:lpwstr>
  </property>
  <property fmtid="{D5CDD505-2E9C-101B-9397-08002B2CF9AE}" pid="6" name="MSIP_Label_0bce33f7-04c0-4596-9b71-ba8617e88451_SiteId">
    <vt:lpwstr>3a15904d-3fd9-4256-a753-beb05cdf0c6d</vt:lpwstr>
  </property>
  <property fmtid="{D5CDD505-2E9C-101B-9397-08002B2CF9AE}" pid="7" name="MSIP_Label_0bce33f7-04c0-4596-9b71-ba8617e88451_ActionId">
    <vt:lpwstr>238eb7c8-5bda-467c-9b3a-46e9036623c2</vt:lpwstr>
  </property>
  <property fmtid="{D5CDD505-2E9C-101B-9397-08002B2CF9AE}" pid="8" name="MSIP_Label_0bce33f7-04c0-4596-9b71-ba8617e88451_ContentBits">
    <vt:lpwstr>0</vt:lpwstr>
  </property>
  <property fmtid="{D5CDD505-2E9C-101B-9397-08002B2CF9AE}" pid="9" name="ContentTypeId">
    <vt:lpwstr>0x010100D035731041D68E479D4061DB65E85A9D</vt:lpwstr>
  </property>
  <property fmtid="{D5CDD505-2E9C-101B-9397-08002B2CF9AE}" pid="10" name="_SourceUrl">
    <vt:lpwstr/>
  </property>
  <property fmtid="{D5CDD505-2E9C-101B-9397-08002B2CF9AE}" pid="11" name="_SharedFileIndex">
    <vt:lpwstr/>
  </property>
  <property fmtid="{D5CDD505-2E9C-101B-9397-08002B2CF9AE}" pid="12" name="ComplianceAssetId">
    <vt:lpwstr/>
  </property>
  <property fmtid="{D5CDD505-2E9C-101B-9397-08002B2CF9AE}" pid="13" name="_ExtendedDescription">
    <vt:lpwstr/>
  </property>
  <property fmtid="{D5CDD505-2E9C-101B-9397-08002B2CF9AE}" pid="14" name="TriggerFlowInfo">
    <vt:lpwstr/>
  </property>
  <property fmtid="{D5CDD505-2E9C-101B-9397-08002B2CF9AE}" pid="15" name="xd_Signature">
    <vt:bool>false</vt:bool>
  </property>
  <property fmtid="{D5CDD505-2E9C-101B-9397-08002B2CF9AE}" pid="16" name="xd_ProgID">
    <vt:lpwstr/>
  </property>
  <property fmtid="{D5CDD505-2E9C-101B-9397-08002B2CF9AE}" pid="17" name="TemplateUrl">
    <vt:lpwstr/>
  </property>
  <property fmtid="{D5CDD505-2E9C-101B-9397-08002B2CF9AE}" pid="18" name="MediaServiceImageTags">
    <vt:lpwstr/>
  </property>
</Properties>
</file>